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notesSlides/notesSlide3.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5.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Lst>
  <p:notesMasterIdLst>
    <p:notesMasterId r:id="rId18"/>
  </p:notesMasterIdLst>
  <p:handoutMasterIdLst>
    <p:handoutMasterId r:id="rId19"/>
  </p:handoutMasterIdLst>
  <p:sldIdLst>
    <p:sldId id="256" r:id="rId5"/>
    <p:sldId id="2152" r:id="rId6"/>
    <p:sldId id="2153" r:id="rId7"/>
    <p:sldId id="2148" r:id="rId8"/>
    <p:sldId id="2154" r:id="rId9"/>
    <p:sldId id="2155" r:id="rId10"/>
    <p:sldId id="1929" r:id="rId11"/>
    <p:sldId id="1930" r:id="rId12"/>
    <p:sldId id="1597" r:id="rId13"/>
    <p:sldId id="2146" r:id="rId14"/>
    <p:sldId id="1598" r:id="rId15"/>
    <p:sldId id="1599" r:id="rId16"/>
    <p:sldId id="2147" r:id="rId17"/>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EFCE"/>
    <a:srgbClr val="FFE48F"/>
    <a:srgbClr val="FF0000"/>
    <a:srgbClr val="00B050"/>
    <a:srgbClr val="F7F7F7"/>
    <a:srgbClr val="EBF2FF"/>
    <a:srgbClr val="C00000"/>
    <a:srgbClr val="FFC000"/>
    <a:srgbClr val="E5F4D4"/>
    <a:srgbClr val="92D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CD95218-941C-4820-B0D1-138B992882CB}" v="48" dt="2021-04-20T04:41:06.445"/>
    <p1510:client id="{3449D077-A1DA-4F47-B8D9-C941F4429A9D}" v="3" dt="2021-04-20T08:04:13.31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18" autoAdjust="0"/>
    <p:restoredTop sz="94987" autoAdjust="0"/>
  </p:normalViewPr>
  <p:slideViewPr>
    <p:cSldViewPr snapToGrid="0">
      <p:cViewPr varScale="1">
        <p:scale>
          <a:sx n="104" d="100"/>
          <a:sy n="104" d="100"/>
        </p:scale>
        <p:origin x="738" y="114"/>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11496"/>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B20FBC07-751B-4727-8DF1-DFE4AE7750F4}"/>
    <pc:docChg chg="undo custSel addSld delSld modSld">
      <pc:chgData name="Aurelien Domont" userId="6da7715ce44349b3" providerId="LiveId" clId="{B20FBC07-751B-4727-8DF1-DFE4AE7750F4}" dt="2020-11-18T06:03:50.116" v="56" actId="47"/>
      <pc:docMkLst>
        <pc:docMk/>
      </pc:docMkLst>
      <pc:sldChg chg="modSp mod">
        <pc:chgData name="Aurelien Domont" userId="6da7715ce44349b3" providerId="LiveId" clId="{B20FBC07-751B-4727-8DF1-DFE4AE7750F4}" dt="2020-11-04T06:37:15.796" v="11" actId="20577"/>
        <pc:sldMkLst>
          <pc:docMk/>
          <pc:sldMk cId="3131901387" sldId="256"/>
        </pc:sldMkLst>
        <pc:spChg chg="mod">
          <ac:chgData name="Aurelien Domont" userId="6da7715ce44349b3" providerId="LiveId" clId="{B20FBC07-751B-4727-8DF1-DFE4AE7750F4}" dt="2020-11-04T06:37:15.796" v="11" actId="20577"/>
          <ac:spMkLst>
            <pc:docMk/>
            <pc:sldMk cId="3131901387" sldId="256"/>
            <ac:spMk id="2" creationId="{5261080C-C60C-4746-B6B1-A9A4FFA86785}"/>
          </ac:spMkLst>
        </pc:spChg>
      </pc:sldChg>
      <pc:sldChg chg="modSp mod">
        <pc:chgData name="Aurelien Domont" userId="6da7715ce44349b3" providerId="LiveId" clId="{B20FBC07-751B-4727-8DF1-DFE4AE7750F4}" dt="2020-11-18T06:00:54.035" v="15" actId="20577"/>
        <pc:sldMkLst>
          <pc:docMk/>
          <pc:sldMk cId="495896922" sldId="1566"/>
        </pc:sldMkLst>
        <pc:spChg chg="mod">
          <ac:chgData name="Aurelien Domont" userId="6da7715ce44349b3" providerId="LiveId" clId="{B20FBC07-751B-4727-8DF1-DFE4AE7750F4}" dt="2020-11-18T06:00:54.035" v="15" actId="20577"/>
          <ac:spMkLst>
            <pc:docMk/>
            <pc:sldMk cId="495896922" sldId="1566"/>
            <ac:spMk id="37" creationId="{BBEE9BDF-071E-40F7-9270-EF1CF522DE39}"/>
          </ac:spMkLst>
        </pc:spChg>
      </pc:sldChg>
      <pc:sldChg chg="del">
        <pc:chgData name="Aurelien Domont" userId="6da7715ce44349b3" providerId="LiveId" clId="{B20FBC07-751B-4727-8DF1-DFE4AE7750F4}" dt="2020-11-18T06:03:50.116" v="56" actId="47"/>
        <pc:sldMkLst>
          <pc:docMk/>
          <pc:sldMk cId="3692499981" sldId="1597"/>
        </pc:sldMkLst>
      </pc:sldChg>
      <pc:sldChg chg="modSp mod">
        <pc:chgData name="Aurelien Domont" userId="6da7715ce44349b3" providerId="LiveId" clId="{B20FBC07-751B-4727-8DF1-DFE4AE7750F4}" dt="2020-11-18T06:00:57.251" v="16" actId="20577"/>
        <pc:sldMkLst>
          <pc:docMk/>
          <pc:sldMk cId="128101654" sldId="1917"/>
        </pc:sldMkLst>
        <pc:spChg chg="mod">
          <ac:chgData name="Aurelien Domont" userId="6da7715ce44349b3" providerId="LiveId" clId="{B20FBC07-751B-4727-8DF1-DFE4AE7750F4}" dt="2020-11-18T06:00:57.251" v="16" actId="20577"/>
          <ac:spMkLst>
            <pc:docMk/>
            <pc:sldMk cId="128101654" sldId="1917"/>
            <ac:spMk id="37" creationId="{BBEE9BDF-071E-40F7-9270-EF1CF522DE39}"/>
          </ac:spMkLst>
        </pc:spChg>
      </pc:sldChg>
      <pc:sldChg chg="modSp mod">
        <pc:chgData name="Aurelien Domont" userId="6da7715ce44349b3" providerId="LiveId" clId="{B20FBC07-751B-4727-8DF1-DFE4AE7750F4}" dt="2020-11-18T06:01:04.091" v="17" actId="20577"/>
        <pc:sldMkLst>
          <pc:docMk/>
          <pc:sldMk cId="3097907417" sldId="1919"/>
        </pc:sldMkLst>
        <pc:spChg chg="mod">
          <ac:chgData name="Aurelien Domont" userId="6da7715ce44349b3" providerId="LiveId" clId="{B20FBC07-751B-4727-8DF1-DFE4AE7750F4}" dt="2020-11-18T06:01:04.091" v="17" actId="20577"/>
          <ac:spMkLst>
            <pc:docMk/>
            <pc:sldMk cId="3097907417" sldId="1919"/>
            <ac:spMk id="37" creationId="{BBEE9BDF-071E-40F7-9270-EF1CF522DE39}"/>
          </ac:spMkLst>
        </pc:spChg>
      </pc:sldChg>
      <pc:sldChg chg="modSp mod">
        <pc:chgData name="Aurelien Domont" userId="6da7715ce44349b3" providerId="LiveId" clId="{B20FBC07-751B-4727-8DF1-DFE4AE7750F4}" dt="2020-11-18T06:01:07.377" v="18" actId="20577"/>
        <pc:sldMkLst>
          <pc:docMk/>
          <pc:sldMk cId="3984149574" sldId="1922"/>
        </pc:sldMkLst>
        <pc:spChg chg="mod">
          <ac:chgData name="Aurelien Domont" userId="6da7715ce44349b3" providerId="LiveId" clId="{B20FBC07-751B-4727-8DF1-DFE4AE7750F4}" dt="2020-11-18T06:01:07.377" v="18" actId="20577"/>
          <ac:spMkLst>
            <pc:docMk/>
            <pc:sldMk cId="3984149574" sldId="1922"/>
            <ac:spMk id="37" creationId="{BBEE9BDF-071E-40F7-9270-EF1CF522DE39}"/>
          </ac:spMkLst>
        </pc:spChg>
      </pc:sldChg>
      <pc:sldChg chg="modSp mod">
        <pc:chgData name="Aurelien Domont" userId="6da7715ce44349b3" providerId="LiveId" clId="{B20FBC07-751B-4727-8DF1-DFE4AE7750F4}" dt="2020-11-18T06:01:13.631" v="19" actId="20577"/>
        <pc:sldMkLst>
          <pc:docMk/>
          <pc:sldMk cId="1511118348" sldId="1923"/>
        </pc:sldMkLst>
        <pc:spChg chg="mod">
          <ac:chgData name="Aurelien Domont" userId="6da7715ce44349b3" providerId="LiveId" clId="{B20FBC07-751B-4727-8DF1-DFE4AE7750F4}" dt="2020-11-18T06:01:13.631" v="19" actId="20577"/>
          <ac:spMkLst>
            <pc:docMk/>
            <pc:sldMk cId="1511118348" sldId="1923"/>
            <ac:spMk id="37" creationId="{BBEE9BDF-071E-40F7-9270-EF1CF522DE39}"/>
          </ac:spMkLst>
        </pc:spChg>
      </pc:sldChg>
      <pc:sldChg chg="modSp mod">
        <pc:chgData name="Aurelien Domont" userId="6da7715ce44349b3" providerId="LiveId" clId="{B20FBC07-751B-4727-8DF1-DFE4AE7750F4}" dt="2020-11-18T06:01:16.715" v="20" actId="20577"/>
        <pc:sldMkLst>
          <pc:docMk/>
          <pc:sldMk cId="575345008" sldId="1926"/>
        </pc:sldMkLst>
        <pc:spChg chg="mod">
          <ac:chgData name="Aurelien Domont" userId="6da7715ce44349b3" providerId="LiveId" clId="{B20FBC07-751B-4727-8DF1-DFE4AE7750F4}" dt="2020-11-18T06:01:16.715" v="20" actId="20577"/>
          <ac:spMkLst>
            <pc:docMk/>
            <pc:sldMk cId="575345008" sldId="1926"/>
            <ac:spMk id="37" creationId="{BBEE9BDF-071E-40F7-9270-EF1CF522DE39}"/>
          </ac:spMkLst>
        </pc:spChg>
      </pc:sldChg>
      <pc:sldChg chg="modSp mod">
        <pc:chgData name="Aurelien Domont" userId="6da7715ce44349b3" providerId="LiveId" clId="{B20FBC07-751B-4727-8DF1-DFE4AE7750F4}" dt="2020-11-18T06:01:20.809" v="21" actId="20577"/>
        <pc:sldMkLst>
          <pc:docMk/>
          <pc:sldMk cId="3066766312" sldId="1927"/>
        </pc:sldMkLst>
        <pc:spChg chg="mod">
          <ac:chgData name="Aurelien Domont" userId="6da7715ce44349b3" providerId="LiveId" clId="{B20FBC07-751B-4727-8DF1-DFE4AE7750F4}" dt="2020-11-18T06:01:20.809" v="21" actId="20577"/>
          <ac:spMkLst>
            <pc:docMk/>
            <pc:sldMk cId="3066766312" sldId="1927"/>
            <ac:spMk id="37" creationId="{BBEE9BDF-071E-40F7-9270-EF1CF522DE39}"/>
          </ac:spMkLst>
        </pc:spChg>
      </pc:sldChg>
      <pc:sldChg chg="modSp mod">
        <pc:chgData name="Aurelien Domont" userId="6da7715ce44349b3" providerId="LiveId" clId="{B20FBC07-751B-4727-8DF1-DFE4AE7750F4}" dt="2020-11-18T06:01:24.882" v="22" actId="20577"/>
        <pc:sldMkLst>
          <pc:docMk/>
          <pc:sldMk cId="1476473816" sldId="1931"/>
        </pc:sldMkLst>
        <pc:spChg chg="mod">
          <ac:chgData name="Aurelien Domont" userId="6da7715ce44349b3" providerId="LiveId" clId="{B20FBC07-751B-4727-8DF1-DFE4AE7750F4}" dt="2020-11-18T06:01:24.882" v="22" actId="20577"/>
          <ac:spMkLst>
            <pc:docMk/>
            <pc:sldMk cId="1476473816" sldId="1931"/>
            <ac:spMk id="37" creationId="{BBEE9BDF-071E-40F7-9270-EF1CF522DE39}"/>
          </ac:spMkLst>
        </pc:spChg>
      </pc:sldChg>
      <pc:sldChg chg="modSp mod">
        <pc:chgData name="Aurelien Domont" userId="6da7715ce44349b3" providerId="LiveId" clId="{B20FBC07-751B-4727-8DF1-DFE4AE7750F4}" dt="2020-11-18T06:01:28.257" v="23" actId="20577"/>
        <pc:sldMkLst>
          <pc:docMk/>
          <pc:sldMk cId="1904317979" sldId="1934"/>
        </pc:sldMkLst>
        <pc:spChg chg="mod">
          <ac:chgData name="Aurelien Domont" userId="6da7715ce44349b3" providerId="LiveId" clId="{B20FBC07-751B-4727-8DF1-DFE4AE7750F4}" dt="2020-11-18T06:01:28.257" v="23" actId="20577"/>
          <ac:spMkLst>
            <pc:docMk/>
            <pc:sldMk cId="1904317979" sldId="1934"/>
            <ac:spMk id="37" creationId="{BBEE9BDF-071E-40F7-9270-EF1CF522DE39}"/>
          </ac:spMkLst>
        </pc:spChg>
      </pc:sldChg>
      <pc:sldChg chg="modSp del mod">
        <pc:chgData name="Aurelien Domont" userId="6da7715ce44349b3" providerId="LiveId" clId="{B20FBC07-751B-4727-8DF1-DFE4AE7750F4}" dt="2020-11-18T06:01:50.946" v="27" actId="47"/>
        <pc:sldMkLst>
          <pc:docMk/>
          <pc:sldMk cId="418298093" sldId="1937"/>
        </pc:sldMkLst>
        <pc:spChg chg="mod">
          <ac:chgData name="Aurelien Domont" userId="6da7715ce44349b3" providerId="LiveId" clId="{B20FBC07-751B-4727-8DF1-DFE4AE7750F4}" dt="2020-11-18T06:01:33.905" v="24" actId="20577"/>
          <ac:spMkLst>
            <pc:docMk/>
            <pc:sldMk cId="418298093" sldId="1937"/>
            <ac:spMk id="37" creationId="{BBEE9BDF-071E-40F7-9270-EF1CF522DE39}"/>
          </ac:spMkLst>
        </pc:spChg>
      </pc:sldChg>
      <pc:sldChg chg="del">
        <pc:chgData name="Aurelien Domont" userId="6da7715ce44349b3" providerId="LiveId" clId="{B20FBC07-751B-4727-8DF1-DFE4AE7750F4}" dt="2020-11-18T06:01:39.481" v="25" actId="47"/>
        <pc:sldMkLst>
          <pc:docMk/>
          <pc:sldMk cId="2873839451" sldId="1938"/>
        </pc:sldMkLst>
      </pc:sldChg>
      <pc:sldChg chg="del">
        <pc:chgData name="Aurelien Domont" userId="6da7715ce44349b3" providerId="LiveId" clId="{B20FBC07-751B-4727-8DF1-DFE4AE7750F4}" dt="2020-11-18T06:01:43.907" v="26" actId="47"/>
        <pc:sldMkLst>
          <pc:docMk/>
          <pc:sldMk cId="4056322640" sldId="1939"/>
        </pc:sldMkLst>
      </pc:sldChg>
      <pc:sldChg chg="add del">
        <pc:chgData name="Aurelien Domont" userId="6da7715ce44349b3" providerId="LiveId" clId="{B20FBC07-751B-4727-8DF1-DFE4AE7750F4}" dt="2020-11-18T06:02:08.131" v="30" actId="47"/>
        <pc:sldMkLst>
          <pc:docMk/>
          <pc:sldMk cId="2102558717" sldId="1940"/>
        </pc:sldMkLst>
      </pc:sldChg>
      <pc:sldChg chg="del">
        <pc:chgData name="Aurelien Domont" userId="6da7715ce44349b3" providerId="LiveId" clId="{B20FBC07-751B-4727-8DF1-DFE4AE7750F4}" dt="2020-11-18T06:02:08.131" v="30" actId="47"/>
        <pc:sldMkLst>
          <pc:docMk/>
          <pc:sldMk cId="3950705451" sldId="1941"/>
        </pc:sldMkLst>
      </pc:sldChg>
      <pc:sldChg chg="del">
        <pc:chgData name="Aurelien Domont" userId="6da7715ce44349b3" providerId="LiveId" clId="{B20FBC07-751B-4727-8DF1-DFE4AE7750F4}" dt="2020-11-18T06:02:08.131" v="30" actId="47"/>
        <pc:sldMkLst>
          <pc:docMk/>
          <pc:sldMk cId="853843260" sldId="1942"/>
        </pc:sldMkLst>
      </pc:sldChg>
      <pc:sldChg chg="modSp mod">
        <pc:chgData name="Aurelien Domont" userId="6da7715ce44349b3" providerId="LiveId" clId="{B20FBC07-751B-4727-8DF1-DFE4AE7750F4}" dt="2020-11-18T06:02:11.414" v="31" actId="20577"/>
        <pc:sldMkLst>
          <pc:docMk/>
          <pc:sldMk cId="832785403" sldId="1943"/>
        </pc:sldMkLst>
        <pc:spChg chg="mod">
          <ac:chgData name="Aurelien Domont" userId="6da7715ce44349b3" providerId="LiveId" clId="{B20FBC07-751B-4727-8DF1-DFE4AE7750F4}" dt="2020-11-18T06:02:11.414" v="31" actId="20577"/>
          <ac:spMkLst>
            <pc:docMk/>
            <pc:sldMk cId="832785403" sldId="1943"/>
            <ac:spMk id="37" creationId="{BBEE9BDF-071E-40F7-9270-EF1CF522DE39}"/>
          </ac:spMkLst>
        </pc:spChg>
      </pc:sldChg>
      <pc:sldChg chg="modSp mod">
        <pc:chgData name="Aurelien Domont" userId="6da7715ce44349b3" providerId="LiveId" clId="{B20FBC07-751B-4727-8DF1-DFE4AE7750F4}" dt="2020-11-18T06:02:18.547" v="32" actId="20577"/>
        <pc:sldMkLst>
          <pc:docMk/>
          <pc:sldMk cId="1756555481" sldId="1947"/>
        </pc:sldMkLst>
        <pc:spChg chg="mod">
          <ac:chgData name="Aurelien Domont" userId="6da7715ce44349b3" providerId="LiveId" clId="{B20FBC07-751B-4727-8DF1-DFE4AE7750F4}" dt="2020-11-18T06:02:18.547" v="32" actId="20577"/>
          <ac:spMkLst>
            <pc:docMk/>
            <pc:sldMk cId="1756555481" sldId="1947"/>
            <ac:spMk id="37" creationId="{BBEE9BDF-071E-40F7-9270-EF1CF522DE39}"/>
          </ac:spMkLst>
        </pc:spChg>
      </pc:sldChg>
      <pc:sldChg chg="modSp mod">
        <pc:chgData name="Aurelien Domont" userId="6da7715ce44349b3" providerId="LiveId" clId="{B20FBC07-751B-4727-8DF1-DFE4AE7750F4}" dt="2020-11-18T06:02:23.878" v="33" actId="20577"/>
        <pc:sldMkLst>
          <pc:docMk/>
          <pc:sldMk cId="861151606" sldId="1951"/>
        </pc:sldMkLst>
        <pc:spChg chg="mod">
          <ac:chgData name="Aurelien Domont" userId="6da7715ce44349b3" providerId="LiveId" clId="{B20FBC07-751B-4727-8DF1-DFE4AE7750F4}" dt="2020-11-18T06:02:23.878" v="33" actId="20577"/>
          <ac:spMkLst>
            <pc:docMk/>
            <pc:sldMk cId="861151606" sldId="1951"/>
            <ac:spMk id="37" creationId="{BBEE9BDF-071E-40F7-9270-EF1CF522DE39}"/>
          </ac:spMkLst>
        </pc:spChg>
      </pc:sldChg>
      <pc:sldChg chg="modSp mod">
        <pc:chgData name="Aurelien Domont" userId="6da7715ce44349b3" providerId="LiveId" clId="{B20FBC07-751B-4727-8DF1-DFE4AE7750F4}" dt="2020-11-18T06:02:26.871" v="34" actId="20577"/>
        <pc:sldMkLst>
          <pc:docMk/>
          <pc:sldMk cId="465122809" sldId="1954"/>
        </pc:sldMkLst>
        <pc:spChg chg="mod">
          <ac:chgData name="Aurelien Domont" userId="6da7715ce44349b3" providerId="LiveId" clId="{B20FBC07-751B-4727-8DF1-DFE4AE7750F4}" dt="2020-11-18T06:02:26.871" v="34" actId="20577"/>
          <ac:spMkLst>
            <pc:docMk/>
            <pc:sldMk cId="465122809" sldId="1954"/>
            <ac:spMk id="37" creationId="{BBEE9BDF-071E-40F7-9270-EF1CF522DE39}"/>
          </ac:spMkLst>
        </pc:spChg>
      </pc:sldChg>
      <pc:sldChg chg="modSp mod">
        <pc:chgData name="Aurelien Domont" userId="6da7715ce44349b3" providerId="LiveId" clId="{B20FBC07-751B-4727-8DF1-DFE4AE7750F4}" dt="2020-11-18T06:02:29.909" v="35" actId="20577"/>
        <pc:sldMkLst>
          <pc:docMk/>
          <pc:sldMk cId="3212518478" sldId="1957"/>
        </pc:sldMkLst>
        <pc:spChg chg="mod">
          <ac:chgData name="Aurelien Domont" userId="6da7715ce44349b3" providerId="LiveId" clId="{B20FBC07-751B-4727-8DF1-DFE4AE7750F4}" dt="2020-11-18T06:02:29.909" v="35" actId="20577"/>
          <ac:spMkLst>
            <pc:docMk/>
            <pc:sldMk cId="3212518478" sldId="1957"/>
            <ac:spMk id="37" creationId="{BBEE9BDF-071E-40F7-9270-EF1CF522DE39}"/>
          </ac:spMkLst>
        </pc:spChg>
      </pc:sldChg>
      <pc:sldChg chg="modSp mod">
        <pc:chgData name="Aurelien Domont" userId="6da7715ce44349b3" providerId="LiveId" clId="{B20FBC07-751B-4727-8DF1-DFE4AE7750F4}" dt="2020-11-04T05:54:40.395" v="1" actId="207"/>
        <pc:sldMkLst>
          <pc:docMk/>
          <pc:sldMk cId="46986138" sldId="1962"/>
        </pc:sldMkLst>
        <pc:spChg chg="mod">
          <ac:chgData name="Aurelien Domont" userId="6da7715ce44349b3" providerId="LiveId" clId="{B20FBC07-751B-4727-8DF1-DFE4AE7750F4}" dt="2020-11-04T05:54:36.766" v="0" actId="207"/>
          <ac:spMkLst>
            <pc:docMk/>
            <pc:sldMk cId="46986138" sldId="1962"/>
            <ac:spMk id="49" creationId="{DCB20323-D690-48B2-A2AE-AC81BD37712C}"/>
          </ac:spMkLst>
        </pc:spChg>
        <pc:spChg chg="mod">
          <ac:chgData name="Aurelien Domont" userId="6da7715ce44349b3" providerId="LiveId" clId="{B20FBC07-751B-4727-8DF1-DFE4AE7750F4}" dt="2020-11-04T05:54:36.766" v="0" actId="207"/>
          <ac:spMkLst>
            <pc:docMk/>
            <pc:sldMk cId="46986138" sldId="1962"/>
            <ac:spMk id="50" creationId="{44F71CC3-6C7E-4918-BD8B-50482A613928}"/>
          </ac:spMkLst>
        </pc:spChg>
        <pc:spChg chg="mod">
          <ac:chgData name="Aurelien Domont" userId="6da7715ce44349b3" providerId="LiveId" clId="{B20FBC07-751B-4727-8DF1-DFE4AE7750F4}" dt="2020-11-04T05:54:36.766" v="0" actId="207"/>
          <ac:spMkLst>
            <pc:docMk/>
            <pc:sldMk cId="46986138" sldId="1962"/>
            <ac:spMk id="51" creationId="{0F0AA582-1369-4E2A-9799-CC9299C22038}"/>
          </ac:spMkLst>
        </pc:spChg>
        <pc:spChg chg="mod">
          <ac:chgData name="Aurelien Domont" userId="6da7715ce44349b3" providerId="LiveId" clId="{B20FBC07-751B-4727-8DF1-DFE4AE7750F4}" dt="2020-11-04T05:54:40.395" v="1" actId="207"/>
          <ac:spMkLst>
            <pc:docMk/>
            <pc:sldMk cId="46986138" sldId="1962"/>
            <ac:spMk id="54" creationId="{4DA3153C-BB6A-4967-A3C0-D566B0FCE4F2}"/>
          </ac:spMkLst>
        </pc:spChg>
        <pc:spChg chg="mod">
          <ac:chgData name="Aurelien Domont" userId="6da7715ce44349b3" providerId="LiveId" clId="{B20FBC07-751B-4727-8DF1-DFE4AE7750F4}" dt="2020-11-04T05:54:40.395" v="1" actId="207"/>
          <ac:spMkLst>
            <pc:docMk/>
            <pc:sldMk cId="46986138" sldId="1962"/>
            <ac:spMk id="55" creationId="{26D46978-0426-4B24-88D5-2E434D717EC0}"/>
          </ac:spMkLst>
        </pc:spChg>
        <pc:spChg chg="mod">
          <ac:chgData name="Aurelien Domont" userId="6da7715ce44349b3" providerId="LiveId" clId="{B20FBC07-751B-4727-8DF1-DFE4AE7750F4}" dt="2020-11-04T05:54:40.395" v="1" actId="207"/>
          <ac:spMkLst>
            <pc:docMk/>
            <pc:sldMk cId="46986138" sldId="1962"/>
            <ac:spMk id="56" creationId="{70A2E7F5-43C5-4D80-9E39-499A8328A4F6}"/>
          </ac:spMkLst>
        </pc:spChg>
        <pc:spChg chg="mod">
          <ac:chgData name="Aurelien Domont" userId="6da7715ce44349b3" providerId="LiveId" clId="{B20FBC07-751B-4727-8DF1-DFE4AE7750F4}" dt="2020-11-04T05:54:36.766" v="0" actId="207"/>
          <ac:spMkLst>
            <pc:docMk/>
            <pc:sldMk cId="46986138" sldId="1962"/>
            <ac:spMk id="57" creationId="{1EFBA38E-4DF6-404E-8E40-2CBC135FDDAD}"/>
          </ac:spMkLst>
        </pc:spChg>
        <pc:spChg chg="mod">
          <ac:chgData name="Aurelien Domont" userId="6da7715ce44349b3" providerId="LiveId" clId="{B20FBC07-751B-4727-8DF1-DFE4AE7750F4}" dt="2020-11-04T05:54:36.766" v="0" actId="207"/>
          <ac:spMkLst>
            <pc:docMk/>
            <pc:sldMk cId="46986138" sldId="1962"/>
            <ac:spMk id="58" creationId="{A0852513-BBF5-4C33-A23B-620DFFEEDE96}"/>
          </ac:spMkLst>
        </pc:spChg>
      </pc:sldChg>
      <pc:sldChg chg="modSp mod">
        <pc:chgData name="Aurelien Domont" userId="6da7715ce44349b3" providerId="LiveId" clId="{B20FBC07-751B-4727-8DF1-DFE4AE7750F4}" dt="2020-11-18T06:02:33.712" v="36" actId="20577"/>
        <pc:sldMkLst>
          <pc:docMk/>
          <pc:sldMk cId="3230212261" sldId="1963"/>
        </pc:sldMkLst>
        <pc:spChg chg="mod">
          <ac:chgData name="Aurelien Domont" userId="6da7715ce44349b3" providerId="LiveId" clId="{B20FBC07-751B-4727-8DF1-DFE4AE7750F4}" dt="2020-11-18T06:02:33.712" v="36" actId="20577"/>
          <ac:spMkLst>
            <pc:docMk/>
            <pc:sldMk cId="3230212261" sldId="1963"/>
            <ac:spMk id="37" creationId="{BBEE9BDF-071E-40F7-9270-EF1CF522DE39}"/>
          </ac:spMkLst>
        </pc:spChg>
      </pc:sldChg>
      <pc:sldChg chg="modSp mod">
        <pc:chgData name="Aurelien Domont" userId="6da7715ce44349b3" providerId="LiveId" clId="{B20FBC07-751B-4727-8DF1-DFE4AE7750F4}" dt="2020-11-18T06:02:36.726" v="37" actId="20577"/>
        <pc:sldMkLst>
          <pc:docMk/>
          <pc:sldMk cId="1760472209" sldId="1966"/>
        </pc:sldMkLst>
        <pc:spChg chg="mod">
          <ac:chgData name="Aurelien Domont" userId="6da7715ce44349b3" providerId="LiveId" clId="{B20FBC07-751B-4727-8DF1-DFE4AE7750F4}" dt="2020-11-18T06:02:36.726" v="37" actId="20577"/>
          <ac:spMkLst>
            <pc:docMk/>
            <pc:sldMk cId="1760472209" sldId="1966"/>
            <ac:spMk id="37" creationId="{BBEE9BDF-071E-40F7-9270-EF1CF522DE39}"/>
          </ac:spMkLst>
        </pc:spChg>
      </pc:sldChg>
      <pc:sldChg chg="modSp mod">
        <pc:chgData name="Aurelien Domont" userId="6da7715ce44349b3" providerId="LiveId" clId="{B20FBC07-751B-4727-8DF1-DFE4AE7750F4}" dt="2020-11-18T06:02:40.755" v="38" actId="20577"/>
        <pc:sldMkLst>
          <pc:docMk/>
          <pc:sldMk cId="776701674" sldId="1968"/>
        </pc:sldMkLst>
        <pc:spChg chg="mod">
          <ac:chgData name="Aurelien Domont" userId="6da7715ce44349b3" providerId="LiveId" clId="{B20FBC07-751B-4727-8DF1-DFE4AE7750F4}" dt="2020-11-18T06:02:40.755" v="38" actId="20577"/>
          <ac:spMkLst>
            <pc:docMk/>
            <pc:sldMk cId="776701674" sldId="1968"/>
            <ac:spMk id="37" creationId="{BBEE9BDF-071E-40F7-9270-EF1CF522DE39}"/>
          </ac:spMkLst>
        </pc:spChg>
      </pc:sldChg>
      <pc:sldChg chg="modSp mod">
        <pc:chgData name="Aurelien Domont" userId="6da7715ce44349b3" providerId="LiveId" clId="{B20FBC07-751B-4727-8DF1-DFE4AE7750F4}" dt="2020-11-18T06:02:44.264" v="39" actId="20577"/>
        <pc:sldMkLst>
          <pc:docMk/>
          <pc:sldMk cId="3330626721" sldId="1971"/>
        </pc:sldMkLst>
        <pc:spChg chg="mod">
          <ac:chgData name="Aurelien Domont" userId="6da7715ce44349b3" providerId="LiveId" clId="{B20FBC07-751B-4727-8DF1-DFE4AE7750F4}" dt="2020-11-18T06:02:44.264" v="39" actId="20577"/>
          <ac:spMkLst>
            <pc:docMk/>
            <pc:sldMk cId="3330626721" sldId="1971"/>
            <ac:spMk id="37" creationId="{BBEE9BDF-071E-40F7-9270-EF1CF522DE39}"/>
          </ac:spMkLst>
        </pc:spChg>
      </pc:sldChg>
      <pc:sldChg chg="modSp mod">
        <pc:chgData name="Aurelien Domont" userId="6da7715ce44349b3" providerId="LiveId" clId="{B20FBC07-751B-4727-8DF1-DFE4AE7750F4}" dt="2020-11-18T06:02:47.662" v="40" actId="20577"/>
        <pc:sldMkLst>
          <pc:docMk/>
          <pc:sldMk cId="417532223" sldId="1973"/>
        </pc:sldMkLst>
        <pc:spChg chg="mod">
          <ac:chgData name="Aurelien Domont" userId="6da7715ce44349b3" providerId="LiveId" clId="{B20FBC07-751B-4727-8DF1-DFE4AE7750F4}" dt="2020-11-18T06:02:47.662" v="40" actId="20577"/>
          <ac:spMkLst>
            <pc:docMk/>
            <pc:sldMk cId="417532223" sldId="1973"/>
            <ac:spMk id="37" creationId="{BBEE9BDF-071E-40F7-9270-EF1CF522DE39}"/>
          </ac:spMkLst>
        </pc:spChg>
      </pc:sldChg>
      <pc:sldChg chg="modSp mod">
        <pc:chgData name="Aurelien Domont" userId="6da7715ce44349b3" providerId="LiveId" clId="{B20FBC07-751B-4727-8DF1-DFE4AE7750F4}" dt="2020-11-18T06:02:51.756" v="41" actId="20577"/>
        <pc:sldMkLst>
          <pc:docMk/>
          <pc:sldMk cId="3936496249" sldId="1979"/>
        </pc:sldMkLst>
        <pc:spChg chg="mod">
          <ac:chgData name="Aurelien Domont" userId="6da7715ce44349b3" providerId="LiveId" clId="{B20FBC07-751B-4727-8DF1-DFE4AE7750F4}" dt="2020-11-18T06:02:51.756" v="41" actId="20577"/>
          <ac:spMkLst>
            <pc:docMk/>
            <pc:sldMk cId="3936496249" sldId="1979"/>
            <ac:spMk id="37" creationId="{BBEE9BDF-071E-40F7-9270-EF1CF522DE39}"/>
          </ac:spMkLst>
        </pc:spChg>
      </pc:sldChg>
      <pc:sldChg chg="modSp mod">
        <pc:chgData name="Aurelien Domont" userId="6da7715ce44349b3" providerId="LiveId" clId="{B20FBC07-751B-4727-8DF1-DFE4AE7750F4}" dt="2020-11-18T06:02:55.154" v="42" actId="20577"/>
        <pc:sldMkLst>
          <pc:docMk/>
          <pc:sldMk cId="1036919842" sldId="1981"/>
        </pc:sldMkLst>
        <pc:spChg chg="mod">
          <ac:chgData name="Aurelien Domont" userId="6da7715ce44349b3" providerId="LiveId" clId="{B20FBC07-751B-4727-8DF1-DFE4AE7750F4}" dt="2020-11-18T06:02:55.154" v="42" actId="20577"/>
          <ac:spMkLst>
            <pc:docMk/>
            <pc:sldMk cId="1036919842" sldId="1981"/>
            <ac:spMk id="37" creationId="{BBEE9BDF-071E-40F7-9270-EF1CF522DE39}"/>
          </ac:spMkLst>
        </pc:spChg>
      </pc:sldChg>
      <pc:sldChg chg="modSp mod">
        <pc:chgData name="Aurelien Domont" userId="6da7715ce44349b3" providerId="LiveId" clId="{B20FBC07-751B-4727-8DF1-DFE4AE7750F4}" dt="2020-11-18T06:02:59.137" v="43" actId="20577"/>
        <pc:sldMkLst>
          <pc:docMk/>
          <pc:sldMk cId="2055076735" sldId="1986"/>
        </pc:sldMkLst>
        <pc:spChg chg="mod">
          <ac:chgData name="Aurelien Domont" userId="6da7715ce44349b3" providerId="LiveId" clId="{B20FBC07-751B-4727-8DF1-DFE4AE7750F4}" dt="2020-11-18T06:02:59.137" v="43" actId="20577"/>
          <ac:spMkLst>
            <pc:docMk/>
            <pc:sldMk cId="2055076735" sldId="1986"/>
            <ac:spMk id="37" creationId="{BBEE9BDF-071E-40F7-9270-EF1CF522DE39}"/>
          </ac:spMkLst>
        </pc:spChg>
      </pc:sldChg>
      <pc:sldChg chg="modSp mod">
        <pc:chgData name="Aurelien Domont" userId="6da7715ce44349b3" providerId="LiveId" clId="{B20FBC07-751B-4727-8DF1-DFE4AE7750F4}" dt="2020-11-18T06:03:02.804" v="44" actId="20577"/>
        <pc:sldMkLst>
          <pc:docMk/>
          <pc:sldMk cId="991805020" sldId="1989"/>
        </pc:sldMkLst>
        <pc:spChg chg="mod">
          <ac:chgData name="Aurelien Domont" userId="6da7715ce44349b3" providerId="LiveId" clId="{B20FBC07-751B-4727-8DF1-DFE4AE7750F4}" dt="2020-11-18T06:03:02.804" v="44" actId="20577"/>
          <ac:spMkLst>
            <pc:docMk/>
            <pc:sldMk cId="991805020" sldId="1989"/>
            <ac:spMk id="37" creationId="{BBEE9BDF-071E-40F7-9270-EF1CF522DE39}"/>
          </ac:spMkLst>
        </pc:spChg>
      </pc:sldChg>
      <pc:sldChg chg="modSp mod">
        <pc:chgData name="Aurelien Domont" userId="6da7715ce44349b3" providerId="LiveId" clId="{B20FBC07-751B-4727-8DF1-DFE4AE7750F4}" dt="2020-11-18T06:03:05.956" v="45" actId="20577"/>
        <pc:sldMkLst>
          <pc:docMk/>
          <pc:sldMk cId="914016889" sldId="1992"/>
        </pc:sldMkLst>
        <pc:spChg chg="mod">
          <ac:chgData name="Aurelien Domont" userId="6da7715ce44349b3" providerId="LiveId" clId="{B20FBC07-751B-4727-8DF1-DFE4AE7750F4}" dt="2020-11-18T06:03:05.956" v="45" actId="20577"/>
          <ac:spMkLst>
            <pc:docMk/>
            <pc:sldMk cId="914016889" sldId="1992"/>
            <ac:spMk id="37" creationId="{BBEE9BDF-071E-40F7-9270-EF1CF522DE39}"/>
          </ac:spMkLst>
        </pc:spChg>
      </pc:sldChg>
      <pc:sldChg chg="modSp mod">
        <pc:chgData name="Aurelien Domont" userId="6da7715ce44349b3" providerId="LiveId" clId="{B20FBC07-751B-4727-8DF1-DFE4AE7750F4}" dt="2020-11-18T06:03:09.690" v="46" actId="20577"/>
        <pc:sldMkLst>
          <pc:docMk/>
          <pc:sldMk cId="953211725" sldId="1995"/>
        </pc:sldMkLst>
        <pc:spChg chg="mod">
          <ac:chgData name="Aurelien Domont" userId="6da7715ce44349b3" providerId="LiveId" clId="{B20FBC07-751B-4727-8DF1-DFE4AE7750F4}" dt="2020-11-18T06:03:09.690" v="46" actId="20577"/>
          <ac:spMkLst>
            <pc:docMk/>
            <pc:sldMk cId="953211725" sldId="1995"/>
            <ac:spMk id="37" creationId="{BBEE9BDF-071E-40F7-9270-EF1CF522DE39}"/>
          </ac:spMkLst>
        </pc:spChg>
      </pc:sldChg>
      <pc:sldChg chg="modSp mod">
        <pc:chgData name="Aurelien Domont" userId="6da7715ce44349b3" providerId="LiveId" clId="{B20FBC07-751B-4727-8DF1-DFE4AE7750F4}" dt="2020-11-18T06:03:13.043" v="47" actId="20577"/>
        <pc:sldMkLst>
          <pc:docMk/>
          <pc:sldMk cId="3823051356" sldId="1999"/>
        </pc:sldMkLst>
        <pc:spChg chg="mod">
          <ac:chgData name="Aurelien Domont" userId="6da7715ce44349b3" providerId="LiveId" clId="{B20FBC07-751B-4727-8DF1-DFE4AE7750F4}" dt="2020-11-18T06:03:13.043" v="47" actId="20577"/>
          <ac:spMkLst>
            <pc:docMk/>
            <pc:sldMk cId="3823051356" sldId="1999"/>
            <ac:spMk id="37" creationId="{BBEE9BDF-071E-40F7-9270-EF1CF522DE39}"/>
          </ac:spMkLst>
        </pc:spChg>
      </pc:sldChg>
      <pc:sldChg chg="delSp mod">
        <pc:chgData name="Aurelien Domont" userId="6da7715ce44349b3" providerId="LiveId" clId="{B20FBC07-751B-4727-8DF1-DFE4AE7750F4}" dt="2020-11-04T06:40:05.781" v="12" actId="478"/>
        <pc:sldMkLst>
          <pc:docMk/>
          <pc:sldMk cId="1480423294" sldId="2001"/>
        </pc:sldMkLst>
        <pc:spChg chg="del">
          <ac:chgData name="Aurelien Domont" userId="6da7715ce44349b3" providerId="LiveId" clId="{B20FBC07-751B-4727-8DF1-DFE4AE7750F4}" dt="2020-11-04T06:40:05.781" v="12" actId="478"/>
          <ac:spMkLst>
            <pc:docMk/>
            <pc:sldMk cId="1480423294" sldId="2001"/>
            <ac:spMk id="15" creationId="{DF073435-4F73-4853-A06A-CEC7CEB9E0FE}"/>
          </ac:spMkLst>
        </pc:spChg>
      </pc:sldChg>
      <pc:sldChg chg="modSp mod">
        <pc:chgData name="Aurelien Domont" userId="6da7715ce44349b3" providerId="LiveId" clId="{B20FBC07-751B-4727-8DF1-DFE4AE7750F4}" dt="2020-11-18T06:03:17.227" v="48" actId="20577"/>
        <pc:sldMkLst>
          <pc:docMk/>
          <pc:sldMk cId="3023691004" sldId="2003"/>
        </pc:sldMkLst>
        <pc:spChg chg="mod">
          <ac:chgData name="Aurelien Domont" userId="6da7715ce44349b3" providerId="LiveId" clId="{B20FBC07-751B-4727-8DF1-DFE4AE7750F4}" dt="2020-11-18T06:03:17.227" v="48" actId="20577"/>
          <ac:spMkLst>
            <pc:docMk/>
            <pc:sldMk cId="3023691004" sldId="2003"/>
            <ac:spMk id="37" creationId="{BBEE9BDF-071E-40F7-9270-EF1CF522DE39}"/>
          </ac:spMkLst>
        </pc:spChg>
      </pc:sldChg>
      <pc:sldChg chg="modSp mod">
        <pc:chgData name="Aurelien Domont" userId="6da7715ce44349b3" providerId="LiveId" clId="{B20FBC07-751B-4727-8DF1-DFE4AE7750F4}" dt="2020-11-18T06:03:19.910" v="49" actId="20577"/>
        <pc:sldMkLst>
          <pc:docMk/>
          <pc:sldMk cId="1724454977" sldId="2006"/>
        </pc:sldMkLst>
        <pc:spChg chg="mod">
          <ac:chgData name="Aurelien Domont" userId="6da7715ce44349b3" providerId="LiveId" clId="{B20FBC07-751B-4727-8DF1-DFE4AE7750F4}" dt="2020-11-18T06:03:19.910" v="49" actId="20577"/>
          <ac:spMkLst>
            <pc:docMk/>
            <pc:sldMk cId="1724454977" sldId="2006"/>
            <ac:spMk id="37" creationId="{BBEE9BDF-071E-40F7-9270-EF1CF522DE39}"/>
          </ac:spMkLst>
        </pc:spChg>
      </pc:sldChg>
      <pc:sldChg chg="modSp mod">
        <pc:chgData name="Aurelien Domont" userId="6da7715ce44349b3" providerId="LiveId" clId="{B20FBC07-751B-4727-8DF1-DFE4AE7750F4}" dt="2020-11-18T06:03:22.785" v="50" actId="20577"/>
        <pc:sldMkLst>
          <pc:docMk/>
          <pc:sldMk cId="1332006057" sldId="2009"/>
        </pc:sldMkLst>
        <pc:spChg chg="mod">
          <ac:chgData name="Aurelien Domont" userId="6da7715ce44349b3" providerId="LiveId" clId="{B20FBC07-751B-4727-8DF1-DFE4AE7750F4}" dt="2020-11-18T06:03:22.785" v="50" actId="20577"/>
          <ac:spMkLst>
            <pc:docMk/>
            <pc:sldMk cId="1332006057" sldId="2009"/>
            <ac:spMk id="37" creationId="{BBEE9BDF-071E-40F7-9270-EF1CF522DE39}"/>
          </ac:spMkLst>
        </pc:spChg>
      </pc:sldChg>
      <pc:sldChg chg="modSp mod">
        <pc:chgData name="Aurelien Domont" userId="6da7715ce44349b3" providerId="LiveId" clId="{B20FBC07-751B-4727-8DF1-DFE4AE7750F4}" dt="2020-11-18T06:03:26.565" v="51" actId="20577"/>
        <pc:sldMkLst>
          <pc:docMk/>
          <pc:sldMk cId="3259832518" sldId="2012"/>
        </pc:sldMkLst>
        <pc:spChg chg="mod">
          <ac:chgData name="Aurelien Domont" userId="6da7715ce44349b3" providerId="LiveId" clId="{B20FBC07-751B-4727-8DF1-DFE4AE7750F4}" dt="2020-11-18T06:03:26.565" v="51" actId="20577"/>
          <ac:spMkLst>
            <pc:docMk/>
            <pc:sldMk cId="3259832518" sldId="2012"/>
            <ac:spMk id="37" creationId="{BBEE9BDF-071E-40F7-9270-EF1CF522DE39}"/>
          </ac:spMkLst>
        </pc:spChg>
      </pc:sldChg>
      <pc:sldChg chg="modSp mod">
        <pc:chgData name="Aurelien Domont" userId="6da7715ce44349b3" providerId="LiveId" clId="{B20FBC07-751B-4727-8DF1-DFE4AE7750F4}" dt="2020-11-18T06:03:32.844" v="52" actId="20577"/>
        <pc:sldMkLst>
          <pc:docMk/>
          <pc:sldMk cId="2682380162" sldId="2014"/>
        </pc:sldMkLst>
        <pc:spChg chg="mod">
          <ac:chgData name="Aurelien Domont" userId="6da7715ce44349b3" providerId="LiveId" clId="{B20FBC07-751B-4727-8DF1-DFE4AE7750F4}" dt="2020-11-18T06:03:32.844" v="52" actId="20577"/>
          <ac:spMkLst>
            <pc:docMk/>
            <pc:sldMk cId="2682380162" sldId="2014"/>
            <ac:spMk id="37" creationId="{BBEE9BDF-071E-40F7-9270-EF1CF522DE39}"/>
          </ac:spMkLst>
        </pc:spChg>
      </pc:sldChg>
      <pc:sldChg chg="modSp mod">
        <pc:chgData name="Aurelien Domont" userId="6da7715ce44349b3" providerId="LiveId" clId="{B20FBC07-751B-4727-8DF1-DFE4AE7750F4}" dt="2020-11-18T06:03:36.893" v="53" actId="20577"/>
        <pc:sldMkLst>
          <pc:docMk/>
          <pc:sldMk cId="2113500125" sldId="2017"/>
        </pc:sldMkLst>
        <pc:spChg chg="mod">
          <ac:chgData name="Aurelien Domont" userId="6da7715ce44349b3" providerId="LiveId" clId="{B20FBC07-751B-4727-8DF1-DFE4AE7750F4}" dt="2020-11-18T06:03:36.893" v="53" actId="20577"/>
          <ac:spMkLst>
            <pc:docMk/>
            <pc:sldMk cId="2113500125" sldId="2017"/>
            <ac:spMk id="37" creationId="{BBEE9BDF-071E-40F7-9270-EF1CF522DE39}"/>
          </ac:spMkLst>
        </pc:spChg>
      </pc:sldChg>
      <pc:sldChg chg="modSp mod">
        <pc:chgData name="Aurelien Domont" userId="6da7715ce44349b3" providerId="LiveId" clId="{B20FBC07-751B-4727-8DF1-DFE4AE7750F4}" dt="2020-11-18T06:03:40.381" v="54" actId="20577"/>
        <pc:sldMkLst>
          <pc:docMk/>
          <pc:sldMk cId="3561897072" sldId="2020"/>
        </pc:sldMkLst>
        <pc:spChg chg="mod">
          <ac:chgData name="Aurelien Domont" userId="6da7715ce44349b3" providerId="LiveId" clId="{B20FBC07-751B-4727-8DF1-DFE4AE7750F4}" dt="2020-11-18T06:03:40.381" v="54" actId="20577"/>
          <ac:spMkLst>
            <pc:docMk/>
            <pc:sldMk cId="3561897072" sldId="2020"/>
            <ac:spMk id="37" creationId="{BBEE9BDF-071E-40F7-9270-EF1CF522DE39}"/>
          </ac:spMkLst>
        </pc:spChg>
      </pc:sldChg>
      <pc:sldChg chg="modSp mod">
        <pc:chgData name="Aurelien Domont" userId="6da7715ce44349b3" providerId="LiveId" clId="{B20FBC07-751B-4727-8DF1-DFE4AE7750F4}" dt="2020-11-18T06:03:44.724" v="55" actId="20577"/>
        <pc:sldMkLst>
          <pc:docMk/>
          <pc:sldMk cId="1278311518" sldId="2023"/>
        </pc:sldMkLst>
        <pc:spChg chg="mod">
          <ac:chgData name="Aurelien Domont" userId="6da7715ce44349b3" providerId="LiveId" clId="{B20FBC07-751B-4727-8DF1-DFE4AE7750F4}" dt="2020-11-18T06:03:44.724" v="55" actId="20577"/>
          <ac:spMkLst>
            <pc:docMk/>
            <pc:sldMk cId="1278311518" sldId="2023"/>
            <ac:spMk id="37" creationId="{BBEE9BDF-071E-40F7-9270-EF1CF522DE39}"/>
          </ac:spMkLst>
        </pc:spChg>
      </pc:sldChg>
    </pc:docChg>
  </pc:docChgLst>
  <pc:docChgLst>
    <pc:chgData name="Aurelien Domont" userId="6da7715ce44349b3" providerId="LiveId" clId="{2CD95218-941C-4820-B0D1-138B992882CB}"/>
    <pc:docChg chg="undo custSel addSld delSld modSld">
      <pc:chgData name="Aurelien Domont" userId="6da7715ce44349b3" providerId="LiveId" clId="{2CD95218-941C-4820-B0D1-138B992882CB}" dt="2021-04-20T04:46:31.521" v="4027" actId="20577"/>
      <pc:docMkLst>
        <pc:docMk/>
      </pc:docMkLst>
      <pc:sldChg chg="modSp mod">
        <pc:chgData name="Aurelien Domont" userId="6da7715ce44349b3" providerId="LiveId" clId="{2CD95218-941C-4820-B0D1-138B992882CB}" dt="2021-04-20T02:14:12.068" v="1316" actId="20577"/>
        <pc:sldMkLst>
          <pc:docMk/>
          <pc:sldMk cId="3131901387" sldId="256"/>
        </pc:sldMkLst>
        <pc:spChg chg="mod">
          <ac:chgData name="Aurelien Domont" userId="6da7715ce44349b3" providerId="LiveId" clId="{2CD95218-941C-4820-B0D1-138B992882CB}" dt="2021-04-20T02:14:12.068" v="1316" actId="20577"/>
          <ac:spMkLst>
            <pc:docMk/>
            <pc:sldMk cId="3131901387" sldId="256"/>
            <ac:spMk id="2" creationId="{5261080C-C60C-4746-B6B1-A9A4FFA86785}"/>
          </ac:spMkLst>
        </pc:spChg>
      </pc:sldChg>
      <pc:sldChg chg="del">
        <pc:chgData name="Aurelien Domont" userId="6da7715ce44349b3" providerId="LiveId" clId="{2CD95218-941C-4820-B0D1-138B992882CB}" dt="2021-04-16T06:18:44.844" v="0" actId="47"/>
        <pc:sldMkLst>
          <pc:docMk/>
          <pc:sldMk cId="2658212128" sldId="1531"/>
        </pc:sldMkLst>
      </pc:sldChg>
      <pc:sldChg chg="del">
        <pc:chgData name="Aurelien Domont" userId="6da7715ce44349b3" providerId="LiveId" clId="{2CD95218-941C-4820-B0D1-138B992882CB}" dt="2021-04-16T06:18:44.844" v="0" actId="47"/>
        <pc:sldMkLst>
          <pc:docMk/>
          <pc:sldMk cId="495896922" sldId="1566"/>
        </pc:sldMkLst>
      </pc:sldChg>
      <pc:sldChg chg="add">
        <pc:chgData name="Aurelien Domont" userId="6da7715ce44349b3" providerId="LiveId" clId="{2CD95218-941C-4820-B0D1-138B992882CB}" dt="2021-04-19T06:45:22.049" v="1192"/>
        <pc:sldMkLst>
          <pc:docMk/>
          <pc:sldMk cId="3692499981" sldId="1597"/>
        </pc:sldMkLst>
      </pc:sldChg>
      <pc:sldChg chg="add del">
        <pc:chgData name="Aurelien Domont" userId="6da7715ce44349b3" providerId="LiveId" clId="{2CD95218-941C-4820-B0D1-138B992882CB}" dt="2021-04-19T06:45:22.049" v="1192"/>
        <pc:sldMkLst>
          <pc:docMk/>
          <pc:sldMk cId="1754585881" sldId="1598"/>
        </pc:sldMkLst>
      </pc:sldChg>
      <pc:sldChg chg="add del">
        <pc:chgData name="Aurelien Domont" userId="6da7715ce44349b3" providerId="LiveId" clId="{2CD95218-941C-4820-B0D1-138B992882CB}" dt="2021-04-19T06:45:22.049" v="1192"/>
        <pc:sldMkLst>
          <pc:docMk/>
          <pc:sldMk cId="748962572" sldId="1599"/>
        </pc:sldMkLst>
      </pc:sldChg>
      <pc:sldChg chg="del">
        <pc:chgData name="Aurelien Domont" userId="6da7715ce44349b3" providerId="LiveId" clId="{2CD95218-941C-4820-B0D1-138B992882CB}" dt="2021-04-19T06:45:24.307" v="1193" actId="47"/>
        <pc:sldMkLst>
          <pc:docMk/>
          <pc:sldMk cId="2853806433" sldId="1600"/>
        </pc:sldMkLst>
      </pc:sldChg>
      <pc:sldChg chg="del">
        <pc:chgData name="Aurelien Domont" userId="6da7715ce44349b3" providerId="LiveId" clId="{2CD95218-941C-4820-B0D1-138B992882CB}" dt="2021-04-16T06:19:49.656" v="14" actId="47"/>
        <pc:sldMkLst>
          <pc:docMk/>
          <pc:sldMk cId="2550332876" sldId="1666"/>
        </pc:sldMkLst>
      </pc:sldChg>
      <pc:sldChg chg="del">
        <pc:chgData name="Aurelien Domont" userId="6da7715ce44349b3" providerId="LiveId" clId="{2CD95218-941C-4820-B0D1-138B992882CB}" dt="2021-04-16T06:18:44.844" v="0" actId="47"/>
        <pc:sldMkLst>
          <pc:docMk/>
          <pc:sldMk cId="1840726201" sldId="1710"/>
        </pc:sldMkLst>
      </pc:sldChg>
      <pc:sldChg chg="del">
        <pc:chgData name="Aurelien Domont" userId="6da7715ce44349b3" providerId="LiveId" clId="{2CD95218-941C-4820-B0D1-138B992882CB}" dt="2021-04-16T06:19:49.656" v="14" actId="47"/>
        <pc:sldMkLst>
          <pc:docMk/>
          <pc:sldMk cId="3582862380" sldId="1721"/>
        </pc:sldMkLst>
      </pc:sldChg>
      <pc:sldChg chg="del">
        <pc:chgData name="Aurelien Domont" userId="6da7715ce44349b3" providerId="LiveId" clId="{2CD95218-941C-4820-B0D1-138B992882CB}" dt="2021-04-16T06:19:49.656" v="14" actId="47"/>
        <pc:sldMkLst>
          <pc:docMk/>
          <pc:sldMk cId="2410734669" sldId="1722"/>
        </pc:sldMkLst>
      </pc:sldChg>
      <pc:sldChg chg="del">
        <pc:chgData name="Aurelien Domont" userId="6da7715ce44349b3" providerId="LiveId" clId="{2CD95218-941C-4820-B0D1-138B992882CB}" dt="2021-04-16T06:19:49.656" v="14" actId="47"/>
        <pc:sldMkLst>
          <pc:docMk/>
          <pc:sldMk cId="1126708650" sldId="1723"/>
        </pc:sldMkLst>
      </pc:sldChg>
      <pc:sldChg chg="del">
        <pc:chgData name="Aurelien Domont" userId="6da7715ce44349b3" providerId="LiveId" clId="{2CD95218-941C-4820-B0D1-138B992882CB}" dt="2021-04-16T06:19:49.656" v="14" actId="47"/>
        <pc:sldMkLst>
          <pc:docMk/>
          <pc:sldMk cId="706002708" sldId="1724"/>
        </pc:sldMkLst>
      </pc:sldChg>
      <pc:sldChg chg="del">
        <pc:chgData name="Aurelien Domont" userId="6da7715ce44349b3" providerId="LiveId" clId="{2CD95218-941C-4820-B0D1-138B992882CB}" dt="2021-04-16T06:19:49.656" v="14" actId="47"/>
        <pc:sldMkLst>
          <pc:docMk/>
          <pc:sldMk cId="1730165850" sldId="1735"/>
        </pc:sldMkLst>
      </pc:sldChg>
      <pc:sldChg chg="del">
        <pc:chgData name="Aurelien Domont" userId="6da7715ce44349b3" providerId="LiveId" clId="{2CD95218-941C-4820-B0D1-138B992882CB}" dt="2021-04-16T06:19:49.656" v="14" actId="47"/>
        <pc:sldMkLst>
          <pc:docMk/>
          <pc:sldMk cId="2432023707" sldId="1736"/>
        </pc:sldMkLst>
      </pc:sldChg>
      <pc:sldChg chg="del">
        <pc:chgData name="Aurelien Domont" userId="6da7715ce44349b3" providerId="LiveId" clId="{2CD95218-941C-4820-B0D1-138B992882CB}" dt="2021-04-16T06:19:49.656" v="14" actId="47"/>
        <pc:sldMkLst>
          <pc:docMk/>
          <pc:sldMk cId="1872475671" sldId="1739"/>
        </pc:sldMkLst>
      </pc:sldChg>
      <pc:sldChg chg="del">
        <pc:chgData name="Aurelien Domont" userId="6da7715ce44349b3" providerId="LiveId" clId="{2CD95218-941C-4820-B0D1-138B992882CB}" dt="2021-04-16T06:18:44.844" v="0" actId="47"/>
        <pc:sldMkLst>
          <pc:docMk/>
          <pc:sldMk cId="2800619671" sldId="1791"/>
        </pc:sldMkLst>
      </pc:sldChg>
      <pc:sldChg chg="del">
        <pc:chgData name="Aurelien Domont" userId="6da7715ce44349b3" providerId="LiveId" clId="{2CD95218-941C-4820-B0D1-138B992882CB}" dt="2021-04-16T06:18:44.844" v="0" actId="47"/>
        <pc:sldMkLst>
          <pc:docMk/>
          <pc:sldMk cId="2053744905" sldId="1792"/>
        </pc:sldMkLst>
      </pc:sldChg>
      <pc:sldChg chg="del">
        <pc:chgData name="Aurelien Domont" userId="6da7715ce44349b3" providerId="LiveId" clId="{2CD95218-941C-4820-B0D1-138B992882CB}" dt="2021-04-16T06:18:44.844" v="0" actId="47"/>
        <pc:sldMkLst>
          <pc:docMk/>
          <pc:sldMk cId="634347229" sldId="1793"/>
        </pc:sldMkLst>
      </pc:sldChg>
      <pc:sldChg chg="del">
        <pc:chgData name="Aurelien Domont" userId="6da7715ce44349b3" providerId="LiveId" clId="{2CD95218-941C-4820-B0D1-138B992882CB}" dt="2021-04-16T06:18:44.844" v="0" actId="47"/>
        <pc:sldMkLst>
          <pc:docMk/>
          <pc:sldMk cId="1177379520" sldId="1794"/>
        </pc:sldMkLst>
      </pc:sldChg>
      <pc:sldChg chg="del">
        <pc:chgData name="Aurelien Domont" userId="6da7715ce44349b3" providerId="LiveId" clId="{2CD95218-941C-4820-B0D1-138B992882CB}" dt="2021-04-16T06:18:44.844" v="0" actId="47"/>
        <pc:sldMkLst>
          <pc:docMk/>
          <pc:sldMk cId="3316732474" sldId="1795"/>
        </pc:sldMkLst>
      </pc:sldChg>
      <pc:sldChg chg="del">
        <pc:chgData name="Aurelien Domont" userId="6da7715ce44349b3" providerId="LiveId" clId="{2CD95218-941C-4820-B0D1-138B992882CB}" dt="2021-04-16T06:18:44.844" v="0" actId="47"/>
        <pc:sldMkLst>
          <pc:docMk/>
          <pc:sldMk cId="2547291190" sldId="1796"/>
        </pc:sldMkLst>
      </pc:sldChg>
      <pc:sldChg chg="del">
        <pc:chgData name="Aurelien Domont" userId="6da7715ce44349b3" providerId="LiveId" clId="{2CD95218-941C-4820-B0D1-138B992882CB}" dt="2021-04-16T06:18:44.844" v="0" actId="47"/>
        <pc:sldMkLst>
          <pc:docMk/>
          <pc:sldMk cId="2824818284" sldId="1797"/>
        </pc:sldMkLst>
      </pc:sldChg>
      <pc:sldChg chg="del">
        <pc:chgData name="Aurelien Domont" userId="6da7715ce44349b3" providerId="LiveId" clId="{2CD95218-941C-4820-B0D1-138B992882CB}" dt="2021-04-16T06:19:49.656" v="14" actId="47"/>
        <pc:sldMkLst>
          <pc:docMk/>
          <pc:sldMk cId="3842700078" sldId="1814"/>
        </pc:sldMkLst>
      </pc:sldChg>
      <pc:sldChg chg="del">
        <pc:chgData name="Aurelien Domont" userId="6da7715ce44349b3" providerId="LiveId" clId="{2CD95218-941C-4820-B0D1-138B992882CB}" dt="2021-04-16T06:19:49.656" v="14" actId="47"/>
        <pc:sldMkLst>
          <pc:docMk/>
          <pc:sldMk cId="2757490807" sldId="1815"/>
        </pc:sldMkLst>
      </pc:sldChg>
      <pc:sldChg chg="del">
        <pc:chgData name="Aurelien Domont" userId="6da7715ce44349b3" providerId="LiveId" clId="{2CD95218-941C-4820-B0D1-138B992882CB}" dt="2021-04-16T06:19:49.656" v="14" actId="47"/>
        <pc:sldMkLst>
          <pc:docMk/>
          <pc:sldMk cId="4157566746" sldId="1816"/>
        </pc:sldMkLst>
      </pc:sldChg>
      <pc:sldChg chg="del">
        <pc:chgData name="Aurelien Domont" userId="6da7715ce44349b3" providerId="LiveId" clId="{2CD95218-941C-4820-B0D1-138B992882CB}" dt="2021-04-16T06:19:49.656" v="14" actId="47"/>
        <pc:sldMkLst>
          <pc:docMk/>
          <pc:sldMk cId="3107058033" sldId="1817"/>
        </pc:sldMkLst>
      </pc:sldChg>
      <pc:sldChg chg="del">
        <pc:chgData name="Aurelien Domont" userId="6da7715ce44349b3" providerId="LiveId" clId="{2CD95218-941C-4820-B0D1-138B992882CB}" dt="2021-04-16T06:19:49.656" v="14" actId="47"/>
        <pc:sldMkLst>
          <pc:docMk/>
          <pc:sldMk cId="4103277597" sldId="1818"/>
        </pc:sldMkLst>
      </pc:sldChg>
      <pc:sldChg chg="del">
        <pc:chgData name="Aurelien Domont" userId="6da7715ce44349b3" providerId="LiveId" clId="{2CD95218-941C-4820-B0D1-138B992882CB}" dt="2021-04-16T06:19:49.656" v="14" actId="47"/>
        <pc:sldMkLst>
          <pc:docMk/>
          <pc:sldMk cId="801108890" sldId="1819"/>
        </pc:sldMkLst>
      </pc:sldChg>
      <pc:sldChg chg="del">
        <pc:chgData name="Aurelien Domont" userId="6da7715ce44349b3" providerId="LiveId" clId="{2CD95218-941C-4820-B0D1-138B992882CB}" dt="2021-04-16T06:19:49.656" v="14" actId="47"/>
        <pc:sldMkLst>
          <pc:docMk/>
          <pc:sldMk cId="367906651" sldId="1820"/>
        </pc:sldMkLst>
      </pc:sldChg>
      <pc:sldChg chg="del">
        <pc:chgData name="Aurelien Domont" userId="6da7715ce44349b3" providerId="LiveId" clId="{2CD95218-941C-4820-B0D1-138B992882CB}" dt="2021-04-16T06:19:49.656" v="14" actId="47"/>
        <pc:sldMkLst>
          <pc:docMk/>
          <pc:sldMk cId="402213051" sldId="1821"/>
        </pc:sldMkLst>
      </pc:sldChg>
      <pc:sldChg chg="del">
        <pc:chgData name="Aurelien Domont" userId="6da7715ce44349b3" providerId="LiveId" clId="{2CD95218-941C-4820-B0D1-138B992882CB}" dt="2021-04-16T06:19:49.656" v="14" actId="47"/>
        <pc:sldMkLst>
          <pc:docMk/>
          <pc:sldMk cId="3606917136" sldId="1822"/>
        </pc:sldMkLst>
      </pc:sldChg>
      <pc:sldChg chg="del">
        <pc:chgData name="Aurelien Domont" userId="6da7715ce44349b3" providerId="LiveId" clId="{2CD95218-941C-4820-B0D1-138B992882CB}" dt="2021-04-16T06:19:49.656" v="14" actId="47"/>
        <pc:sldMkLst>
          <pc:docMk/>
          <pc:sldMk cId="3007841957" sldId="1823"/>
        </pc:sldMkLst>
      </pc:sldChg>
      <pc:sldChg chg="del">
        <pc:chgData name="Aurelien Domont" userId="6da7715ce44349b3" providerId="LiveId" clId="{2CD95218-941C-4820-B0D1-138B992882CB}" dt="2021-04-16T06:18:44.844" v="0" actId="47"/>
        <pc:sldMkLst>
          <pc:docMk/>
          <pc:sldMk cId="4285708033" sldId="1874"/>
        </pc:sldMkLst>
      </pc:sldChg>
      <pc:sldChg chg="del">
        <pc:chgData name="Aurelien Domont" userId="6da7715ce44349b3" providerId="LiveId" clId="{2CD95218-941C-4820-B0D1-138B992882CB}" dt="2021-04-16T06:18:44.844" v="0" actId="47"/>
        <pc:sldMkLst>
          <pc:docMk/>
          <pc:sldMk cId="2925381827" sldId="1875"/>
        </pc:sldMkLst>
      </pc:sldChg>
      <pc:sldChg chg="del">
        <pc:chgData name="Aurelien Domont" userId="6da7715ce44349b3" providerId="LiveId" clId="{2CD95218-941C-4820-B0D1-138B992882CB}" dt="2021-04-16T06:18:44.844" v="0" actId="47"/>
        <pc:sldMkLst>
          <pc:docMk/>
          <pc:sldMk cId="3550908072" sldId="1876"/>
        </pc:sldMkLst>
      </pc:sldChg>
      <pc:sldChg chg="del">
        <pc:chgData name="Aurelien Domont" userId="6da7715ce44349b3" providerId="LiveId" clId="{2CD95218-941C-4820-B0D1-138B992882CB}" dt="2021-04-16T06:18:44.844" v="0" actId="47"/>
        <pc:sldMkLst>
          <pc:docMk/>
          <pc:sldMk cId="2373808417" sldId="1877"/>
        </pc:sldMkLst>
      </pc:sldChg>
      <pc:sldChg chg="del">
        <pc:chgData name="Aurelien Domont" userId="6da7715ce44349b3" providerId="LiveId" clId="{2CD95218-941C-4820-B0D1-138B992882CB}" dt="2021-04-16T06:18:44.844" v="0" actId="47"/>
        <pc:sldMkLst>
          <pc:docMk/>
          <pc:sldMk cId="1488264477" sldId="1878"/>
        </pc:sldMkLst>
      </pc:sldChg>
      <pc:sldChg chg="del">
        <pc:chgData name="Aurelien Domont" userId="6da7715ce44349b3" providerId="LiveId" clId="{2CD95218-941C-4820-B0D1-138B992882CB}" dt="2021-04-16T06:18:44.844" v="0" actId="47"/>
        <pc:sldMkLst>
          <pc:docMk/>
          <pc:sldMk cId="3464794184" sldId="1879"/>
        </pc:sldMkLst>
      </pc:sldChg>
      <pc:sldChg chg="del">
        <pc:chgData name="Aurelien Domont" userId="6da7715ce44349b3" providerId="LiveId" clId="{2CD95218-941C-4820-B0D1-138B992882CB}" dt="2021-04-16T06:18:44.844" v="0" actId="47"/>
        <pc:sldMkLst>
          <pc:docMk/>
          <pc:sldMk cId="128101654" sldId="1917"/>
        </pc:sldMkLst>
      </pc:sldChg>
      <pc:sldChg chg="del">
        <pc:chgData name="Aurelien Domont" userId="6da7715ce44349b3" providerId="LiveId" clId="{2CD95218-941C-4820-B0D1-138B992882CB}" dt="2021-04-16T06:18:44.844" v="0" actId="47"/>
        <pc:sldMkLst>
          <pc:docMk/>
          <pc:sldMk cId="3001806462" sldId="1918"/>
        </pc:sldMkLst>
      </pc:sldChg>
      <pc:sldChg chg="del">
        <pc:chgData name="Aurelien Domont" userId="6da7715ce44349b3" providerId="LiveId" clId="{2CD95218-941C-4820-B0D1-138B992882CB}" dt="2021-04-16T06:18:44.844" v="0" actId="47"/>
        <pc:sldMkLst>
          <pc:docMk/>
          <pc:sldMk cId="3097907417" sldId="1919"/>
        </pc:sldMkLst>
      </pc:sldChg>
      <pc:sldChg chg="del">
        <pc:chgData name="Aurelien Domont" userId="6da7715ce44349b3" providerId="LiveId" clId="{2CD95218-941C-4820-B0D1-138B992882CB}" dt="2021-04-16T06:18:44.844" v="0" actId="47"/>
        <pc:sldMkLst>
          <pc:docMk/>
          <pc:sldMk cId="1909067171" sldId="1920"/>
        </pc:sldMkLst>
      </pc:sldChg>
      <pc:sldChg chg="del">
        <pc:chgData name="Aurelien Domont" userId="6da7715ce44349b3" providerId="LiveId" clId="{2CD95218-941C-4820-B0D1-138B992882CB}" dt="2021-04-16T06:18:44.844" v="0" actId="47"/>
        <pc:sldMkLst>
          <pc:docMk/>
          <pc:sldMk cId="2409624465" sldId="1921"/>
        </pc:sldMkLst>
      </pc:sldChg>
      <pc:sldChg chg="del">
        <pc:chgData name="Aurelien Domont" userId="6da7715ce44349b3" providerId="LiveId" clId="{2CD95218-941C-4820-B0D1-138B992882CB}" dt="2021-04-16T06:18:44.844" v="0" actId="47"/>
        <pc:sldMkLst>
          <pc:docMk/>
          <pc:sldMk cId="3984149574" sldId="1922"/>
        </pc:sldMkLst>
      </pc:sldChg>
      <pc:sldChg chg="del">
        <pc:chgData name="Aurelien Domont" userId="6da7715ce44349b3" providerId="LiveId" clId="{2CD95218-941C-4820-B0D1-138B992882CB}" dt="2021-04-16T06:18:44.844" v="0" actId="47"/>
        <pc:sldMkLst>
          <pc:docMk/>
          <pc:sldMk cId="1511118348" sldId="1923"/>
        </pc:sldMkLst>
      </pc:sldChg>
      <pc:sldChg chg="del">
        <pc:chgData name="Aurelien Domont" userId="6da7715ce44349b3" providerId="LiveId" clId="{2CD95218-941C-4820-B0D1-138B992882CB}" dt="2021-04-16T06:18:44.844" v="0" actId="47"/>
        <pc:sldMkLst>
          <pc:docMk/>
          <pc:sldMk cId="2227961316" sldId="1924"/>
        </pc:sldMkLst>
      </pc:sldChg>
      <pc:sldChg chg="del">
        <pc:chgData name="Aurelien Domont" userId="6da7715ce44349b3" providerId="LiveId" clId="{2CD95218-941C-4820-B0D1-138B992882CB}" dt="2021-04-16T06:18:44.844" v="0" actId="47"/>
        <pc:sldMkLst>
          <pc:docMk/>
          <pc:sldMk cId="30673312" sldId="1925"/>
        </pc:sldMkLst>
      </pc:sldChg>
      <pc:sldChg chg="del">
        <pc:chgData name="Aurelien Domont" userId="6da7715ce44349b3" providerId="LiveId" clId="{2CD95218-941C-4820-B0D1-138B992882CB}" dt="2021-04-16T06:18:44.844" v="0" actId="47"/>
        <pc:sldMkLst>
          <pc:docMk/>
          <pc:sldMk cId="575345008" sldId="1926"/>
        </pc:sldMkLst>
      </pc:sldChg>
      <pc:sldChg chg="del">
        <pc:chgData name="Aurelien Domont" userId="6da7715ce44349b3" providerId="LiveId" clId="{2CD95218-941C-4820-B0D1-138B992882CB}" dt="2021-04-16T06:18:44.844" v="0" actId="47"/>
        <pc:sldMkLst>
          <pc:docMk/>
          <pc:sldMk cId="3066766312" sldId="1927"/>
        </pc:sldMkLst>
      </pc:sldChg>
      <pc:sldChg chg="addSp delSp modSp del mod">
        <pc:chgData name="Aurelien Domont" userId="6da7715ce44349b3" providerId="LiveId" clId="{2CD95218-941C-4820-B0D1-138B992882CB}" dt="2021-04-20T04:00:14.754" v="2741" actId="47"/>
        <pc:sldMkLst>
          <pc:docMk/>
          <pc:sldMk cId="1151893028" sldId="1928"/>
        </pc:sldMkLst>
        <pc:spChg chg="add del">
          <ac:chgData name="Aurelien Domont" userId="6da7715ce44349b3" providerId="LiveId" clId="{2CD95218-941C-4820-B0D1-138B992882CB}" dt="2021-04-20T03:31:24.344" v="1627" actId="478"/>
          <ac:spMkLst>
            <pc:docMk/>
            <pc:sldMk cId="1151893028" sldId="1928"/>
            <ac:spMk id="2" creationId="{91E79B9A-E64E-4BF3-BEDD-2D1D1F00C493}"/>
          </ac:spMkLst>
        </pc:spChg>
        <pc:spChg chg="del mod">
          <ac:chgData name="Aurelien Domont" userId="6da7715ce44349b3" providerId="LiveId" clId="{2CD95218-941C-4820-B0D1-138B992882CB}" dt="2021-04-16T06:31:51.536" v="278" actId="478"/>
          <ac:spMkLst>
            <pc:docMk/>
            <pc:sldMk cId="1151893028" sldId="1928"/>
            <ac:spMk id="2" creationId="{C8042D7C-02C6-41CC-9707-C9C5F6FA269D}"/>
          </ac:spMkLst>
        </pc:spChg>
        <pc:spChg chg="del">
          <ac:chgData name="Aurelien Domont" userId="6da7715ce44349b3" providerId="LiveId" clId="{2CD95218-941C-4820-B0D1-138B992882CB}" dt="2021-04-20T03:35:20.709" v="1689" actId="478"/>
          <ac:spMkLst>
            <pc:docMk/>
            <pc:sldMk cId="1151893028" sldId="1928"/>
            <ac:spMk id="3" creationId="{CE2529A3-BA97-486F-9E02-8DFAAA7D8D38}"/>
          </ac:spMkLst>
        </pc:spChg>
        <pc:spChg chg="add mod">
          <ac:chgData name="Aurelien Domont" userId="6da7715ce44349b3" providerId="LiveId" clId="{2CD95218-941C-4820-B0D1-138B992882CB}" dt="2021-04-20T03:52:16.374" v="2530" actId="20577"/>
          <ac:spMkLst>
            <pc:docMk/>
            <pc:sldMk cId="1151893028" sldId="1928"/>
            <ac:spMk id="6" creationId="{C3CDFF47-2BDF-481B-8C77-A2EE049FF74B}"/>
          </ac:spMkLst>
        </pc:spChg>
        <pc:spChg chg="add del mod">
          <ac:chgData name="Aurelien Domont" userId="6da7715ce44349b3" providerId="LiveId" clId="{2CD95218-941C-4820-B0D1-138B992882CB}" dt="2021-04-20T03:30:36.612" v="1523" actId="478"/>
          <ac:spMkLst>
            <pc:docMk/>
            <pc:sldMk cId="1151893028" sldId="1928"/>
            <ac:spMk id="7" creationId="{120574EB-CBD3-4F45-8CFD-E60A7C4B6D41}"/>
          </ac:spMkLst>
        </pc:spChg>
        <pc:spChg chg="add mod">
          <ac:chgData name="Aurelien Domont" userId="6da7715ce44349b3" providerId="LiveId" clId="{2CD95218-941C-4820-B0D1-138B992882CB}" dt="2021-04-20T03:49:05.885" v="2381" actId="1076"/>
          <ac:spMkLst>
            <pc:docMk/>
            <pc:sldMk cId="1151893028" sldId="1928"/>
            <ac:spMk id="11" creationId="{CC20D042-C261-40FA-9AD5-C92E9BBE6615}"/>
          </ac:spMkLst>
        </pc:spChg>
        <pc:spChg chg="add del mod">
          <ac:chgData name="Aurelien Domont" userId="6da7715ce44349b3" providerId="LiveId" clId="{2CD95218-941C-4820-B0D1-138B992882CB}" dt="2021-04-20T03:35:19.204" v="1688" actId="478"/>
          <ac:spMkLst>
            <pc:docMk/>
            <pc:sldMk cId="1151893028" sldId="1928"/>
            <ac:spMk id="12" creationId="{263526D0-4E30-44A1-B849-A8A648050655}"/>
          </ac:spMkLst>
        </pc:spChg>
        <pc:spChg chg="add del mod">
          <ac:chgData name="Aurelien Domont" userId="6da7715ce44349b3" providerId="LiveId" clId="{2CD95218-941C-4820-B0D1-138B992882CB}" dt="2021-04-20T03:35:19.204" v="1688" actId="478"/>
          <ac:spMkLst>
            <pc:docMk/>
            <pc:sldMk cId="1151893028" sldId="1928"/>
            <ac:spMk id="14" creationId="{4888DBE3-F1E1-4D55-8FB7-2EA43E6567A1}"/>
          </ac:spMkLst>
        </pc:spChg>
        <pc:spChg chg="add del mod">
          <ac:chgData name="Aurelien Domont" userId="6da7715ce44349b3" providerId="LiveId" clId="{2CD95218-941C-4820-B0D1-138B992882CB}" dt="2021-04-20T03:35:22.292" v="1690" actId="478"/>
          <ac:spMkLst>
            <pc:docMk/>
            <pc:sldMk cId="1151893028" sldId="1928"/>
            <ac:spMk id="15" creationId="{EB71D23C-62BE-463C-9803-3712DFA133DA}"/>
          </ac:spMkLst>
        </pc:spChg>
        <pc:spChg chg="mod">
          <ac:chgData name="Aurelien Domont" userId="6da7715ce44349b3" providerId="LiveId" clId="{2CD95218-941C-4820-B0D1-138B992882CB}" dt="2021-04-20T02:17:48.967" v="1421" actId="20577"/>
          <ac:spMkLst>
            <pc:docMk/>
            <pc:sldMk cId="1151893028" sldId="1928"/>
            <ac:spMk id="16" creationId="{6C2BB713-9637-4B9B-938F-E9768876782A}"/>
          </ac:spMkLst>
        </pc:spChg>
        <pc:spChg chg="add del mod">
          <ac:chgData name="Aurelien Domont" userId="6da7715ce44349b3" providerId="LiveId" clId="{2CD95218-941C-4820-B0D1-138B992882CB}" dt="2021-04-20T03:35:22.292" v="1690" actId="478"/>
          <ac:spMkLst>
            <pc:docMk/>
            <pc:sldMk cId="1151893028" sldId="1928"/>
            <ac:spMk id="17" creationId="{A13CDAE6-316A-4418-B38E-935C93F21E72}"/>
          </ac:spMkLst>
        </pc:spChg>
        <pc:spChg chg="add del mod">
          <ac:chgData name="Aurelien Domont" userId="6da7715ce44349b3" providerId="LiveId" clId="{2CD95218-941C-4820-B0D1-138B992882CB}" dt="2021-04-20T03:35:22.292" v="1690" actId="478"/>
          <ac:spMkLst>
            <pc:docMk/>
            <pc:sldMk cId="1151893028" sldId="1928"/>
            <ac:spMk id="18" creationId="{EF63D292-C598-4EB1-B2AB-3EF86BBAE4AF}"/>
          </ac:spMkLst>
        </pc:spChg>
        <pc:spChg chg="add del mod">
          <ac:chgData name="Aurelien Domont" userId="6da7715ce44349b3" providerId="LiveId" clId="{2CD95218-941C-4820-B0D1-138B992882CB}" dt="2021-04-20T03:31:24.344" v="1627" actId="478"/>
          <ac:spMkLst>
            <pc:docMk/>
            <pc:sldMk cId="1151893028" sldId="1928"/>
            <ac:spMk id="19" creationId="{FFA079E0-0D08-4268-AB74-50F3E6CA774C}"/>
          </ac:spMkLst>
        </pc:spChg>
        <pc:spChg chg="add mod">
          <ac:chgData name="Aurelien Domont" userId="6da7715ce44349b3" providerId="LiveId" clId="{2CD95218-941C-4820-B0D1-138B992882CB}" dt="2021-04-20T03:49:05.885" v="2381" actId="1076"/>
          <ac:spMkLst>
            <pc:docMk/>
            <pc:sldMk cId="1151893028" sldId="1928"/>
            <ac:spMk id="20" creationId="{C59DF6C5-D4AC-4D27-B52A-E815DD763FD8}"/>
          </ac:spMkLst>
        </pc:spChg>
        <pc:spChg chg="del">
          <ac:chgData name="Aurelien Domont" userId="6da7715ce44349b3" providerId="LiveId" clId="{2CD95218-941C-4820-B0D1-138B992882CB}" dt="2021-04-16T06:31:54.992" v="279" actId="478"/>
          <ac:spMkLst>
            <pc:docMk/>
            <pc:sldMk cId="1151893028" sldId="1928"/>
            <ac:spMk id="21" creationId="{0BEBB444-0AAC-4415-AD72-D9E834A2A1CF}"/>
          </ac:spMkLst>
        </pc:spChg>
        <pc:spChg chg="add mod">
          <ac:chgData name="Aurelien Domont" userId="6da7715ce44349b3" providerId="LiveId" clId="{2CD95218-941C-4820-B0D1-138B992882CB}" dt="2021-04-20T03:49:05.885" v="2381" actId="1076"/>
          <ac:spMkLst>
            <pc:docMk/>
            <pc:sldMk cId="1151893028" sldId="1928"/>
            <ac:spMk id="21" creationId="{F5002797-E4EA-45B8-B820-76ECE0702817}"/>
          </ac:spMkLst>
        </pc:spChg>
        <pc:spChg chg="del">
          <ac:chgData name="Aurelien Domont" userId="6da7715ce44349b3" providerId="LiveId" clId="{2CD95218-941C-4820-B0D1-138B992882CB}" dt="2021-04-16T06:31:54.992" v="279" actId="478"/>
          <ac:spMkLst>
            <pc:docMk/>
            <pc:sldMk cId="1151893028" sldId="1928"/>
            <ac:spMk id="22" creationId="{9451C740-A260-4E73-93AE-9A3732F37470}"/>
          </ac:spMkLst>
        </pc:spChg>
        <pc:spChg chg="del mod">
          <ac:chgData name="Aurelien Domont" userId="6da7715ce44349b3" providerId="LiveId" clId="{2CD95218-941C-4820-B0D1-138B992882CB}" dt="2021-04-20T02:17:32.181" v="1419" actId="478"/>
          <ac:spMkLst>
            <pc:docMk/>
            <pc:sldMk cId="1151893028" sldId="1928"/>
            <ac:spMk id="24" creationId="{5262883E-429E-4FBD-BE90-9FFFC2CD6641}"/>
          </ac:spMkLst>
        </pc:spChg>
        <pc:picChg chg="add del mod">
          <ac:chgData name="Aurelien Domont" userId="6da7715ce44349b3" providerId="LiveId" clId="{2CD95218-941C-4820-B0D1-138B992882CB}" dt="2021-04-20T03:35:19.204" v="1688" actId="478"/>
          <ac:picMkLst>
            <pc:docMk/>
            <pc:sldMk cId="1151893028" sldId="1928"/>
            <ac:picMk id="8" creationId="{47F4F950-4E52-42F0-9B6C-93E51E8C9540}"/>
          </ac:picMkLst>
        </pc:picChg>
        <pc:picChg chg="add del mod">
          <ac:chgData name="Aurelien Domont" userId="6da7715ce44349b3" providerId="LiveId" clId="{2CD95218-941C-4820-B0D1-138B992882CB}" dt="2021-04-20T03:35:19.204" v="1688" actId="478"/>
          <ac:picMkLst>
            <pc:docMk/>
            <pc:sldMk cId="1151893028" sldId="1928"/>
            <ac:picMk id="9" creationId="{D01D5425-A75C-48D5-AA24-EFF0A089C2AB}"/>
          </ac:picMkLst>
        </pc:picChg>
        <pc:picChg chg="add del mod">
          <ac:chgData name="Aurelien Domont" userId="6da7715ce44349b3" providerId="LiveId" clId="{2CD95218-941C-4820-B0D1-138B992882CB}" dt="2021-04-20T03:35:20.709" v="1689" actId="478"/>
          <ac:picMkLst>
            <pc:docMk/>
            <pc:sldMk cId="1151893028" sldId="1928"/>
            <ac:picMk id="10" creationId="{A63008E7-00A5-4716-9E99-588C481B71AD}"/>
          </ac:picMkLst>
        </pc:picChg>
      </pc:sldChg>
      <pc:sldChg chg="addSp delSp modSp mod">
        <pc:chgData name="Aurelien Domont" userId="6da7715ce44349b3" providerId="LiveId" clId="{2CD95218-941C-4820-B0D1-138B992882CB}" dt="2021-04-20T04:42:29.503" v="3977" actId="404"/>
        <pc:sldMkLst>
          <pc:docMk/>
          <pc:sldMk cId="1675062303" sldId="1929"/>
        </pc:sldMkLst>
        <pc:spChg chg="add mod">
          <ac:chgData name="Aurelien Domont" userId="6da7715ce44349b3" providerId="LiveId" clId="{2CD95218-941C-4820-B0D1-138B992882CB}" dt="2021-04-16T06:51:10.677" v="717" actId="14100"/>
          <ac:spMkLst>
            <pc:docMk/>
            <pc:sldMk cId="1675062303" sldId="1929"/>
            <ac:spMk id="6" creationId="{DEB285D0-8F6C-4E31-8EF4-24D043585532}"/>
          </ac:spMkLst>
        </pc:spChg>
        <pc:spChg chg="del mod">
          <ac:chgData name="Aurelien Domont" userId="6da7715ce44349b3" providerId="LiveId" clId="{2CD95218-941C-4820-B0D1-138B992882CB}" dt="2021-04-16T06:27:24.768" v="191" actId="478"/>
          <ac:spMkLst>
            <pc:docMk/>
            <pc:sldMk cId="1675062303" sldId="1929"/>
            <ac:spMk id="9" creationId="{58EAFEFA-DBE6-473F-BFAC-728336EDAE38}"/>
          </ac:spMkLst>
        </pc:spChg>
        <pc:spChg chg="del mod">
          <ac:chgData name="Aurelien Domont" userId="6da7715ce44349b3" providerId="LiveId" clId="{2CD95218-941C-4820-B0D1-138B992882CB}" dt="2021-04-16T06:27:24.768" v="191" actId="478"/>
          <ac:spMkLst>
            <pc:docMk/>
            <pc:sldMk cId="1675062303" sldId="1929"/>
            <ac:spMk id="10" creationId="{AE0DFF81-E86B-4CF9-B144-65C22930271A}"/>
          </ac:spMkLst>
        </pc:spChg>
        <pc:spChg chg="del mod">
          <ac:chgData name="Aurelien Domont" userId="6da7715ce44349b3" providerId="LiveId" clId="{2CD95218-941C-4820-B0D1-138B992882CB}" dt="2021-04-16T06:27:24.768" v="191" actId="478"/>
          <ac:spMkLst>
            <pc:docMk/>
            <pc:sldMk cId="1675062303" sldId="1929"/>
            <ac:spMk id="11" creationId="{24EF1AF2-9705-4FBA-B89A-BEF3922DC0AC}"/>
          </ac:spMkLst>
        </pc:spChg>
        <pc:spChg chg="del mod">
          <ac:chgData name="Aurelien Domont" userId="6da7715ce44349b3" providerId="LiveId" clId="{2CD95218-941C-4820-B0D1-138B992882CB}" dt="2021-04-16T06:27:24.768" v="191" actId="478"/>
          <ac:spMkLst>
            <pc:docMk/>
            <pc:sldMk cId="1675062303" sldId="1929"/>
            <ac:spMk id="12" creationId="{0B96AF20-2BD4-40A8-899A-A39181106A89}"/>
          </ac:spMkLst>
        </pc:spChg>
        <pc:spChg chg="del mod">
          <ac:chgData name="Aurelien Domont" userId="6da7715ce44349b3" providerId="LiveId" clId="{2CD95218-941C-4820-B0D1-138B992882CB}" dt="2021-04-16T06:27:24.768" v="191" actId="478"/>
          <ac:spMkLst>
            <pc:docMk/>
            <pc:sldMk cId="1675062303" sldId="1929"/>
            <ac:spMk id="14" creationId="{BD9FEA21-B351-4271-95D9-3BDDE5CF060B}"/>
          </ac:spMkLst>
        </pc:spChg>
        <pc:spChg chg="del mod">
          <ac:chgData name="Aurelien Domont" userId="6da7715ce44349b3" providerId="LiveId" clId="{2CD95218-941C-4820-B0D1-138B992882CB}" dt="2021-04-16T06:27:24.768" v="191" actId="478"/>
          <ac:spMkLst>
            <pc:docMk/>
            <pc:sldMk cId="1675062303" sldId="1929"/>
            <ac:spMk id="15" creationId="{14CD3CCE-9598-4F1D-B4A5-601A0ADC0F75}"/>
          </ac:spMkLst>
        </pc:spChg>
        <pc:spChg chg="mod">
          <ac:chgData name="Aurelien Domont" userId="6da7715ce44349b3" providerId="LiveId" clId="{2CD95218-941C-4820-B0D1-138B992882CB}" dt="2021-04-20T04:42:29.503" v="3977" actId="404"/>
          <ac:spMkLst>
            <pc:docMk/>
            <pc:sldMk cId="1675062303" sldId="1929"/>
            <ac:spMk id="16" creationId="{6C2BB713-9637-4B9B-938F-E9768876782A}"/>
          </ac:spMkLst>
        </pc:spChg>
        <pc:spChg chg="del mod">
          <ac:chgData name="Aurelien Domont" userId="6da7715ce44349b3" providerId="LiveId" clId="{2CD95218-941C-4820-B0D1-138B992882CB}" dt="2021-04-16T06:27:24.768" v="191" actId="478"/>
          <ac:spMkLst>
            <pc:docMk/>
            <pc:sldMk cId="1675062303" sldId="1929"/>
            <ac:spMk id="17" creationId="{2B8D1E97-9030-4071-A57F-FE1DC560F7AA}"/>
          </ac:spMkLst>
        </pc:spChg>
        <pc:spChg chg="del mod">
          <ac:chgData name="Aurelien Domont" userId="6da7715ce44349b3" providerId="LiveId" clId="{2CD95218-941C-4820-B0D1-138B992882CB}" dt="2021-04-16T06:27:24.768" v="191" actId="478"/>
          <ac:spMkLst>
            <pc:docMk/>
            <pc:sldMk cId="1675062303" sldId="1929"/>
            <ac:spMk id="18" creationId="{AB8FB9AD-2432-408F-BF04-2C5BE81AAA23}"/>
          </ac:spMkLst>
        </pc:spChg>
        <pc:spChg chg="del mod">
          <ac:chgData name="Aurelien Domont" userId="6da7715ce44349b3" providerId="LiveId" clId="{2CD95218-941C-4820-B0D1-138B992882CB}" dt="2021-04-16T06:27:24.768" v="191" actId="478"/>
          <ac:spMkLst>
            <pc:docMk/>
            <pc:sldMk cId="1675062303" sldId="1929"/>
            <ac:spMk id="19" creationId="{C2719FC7-EF22-44A3-B39E-197523B54171}"/>
          </ac:spMkLst>
        </pc:spChg>
        <pc:spChg chg="del mod">
          <ac:chgData name="Aurelien Domont" userId="6da7715ce44349b3" providerId="LiveId" clId="{2CD95218-941C-4820-B0D1-138B992882CB}" dt="2021-04-16T06:27:24.768" v="191" actId="478"/>
          <ac:spMkLst>
            <pc:docMk/>
            <pc:sldMk cId="1675062303" sldId="1929"/>
            <ac:spMk id="20" creationId="{32605EDF-E790-4369-925C-91074A443B3B}"/>
          </ac:spMkLst>
        </pc:spChg>
        <pc:spChg chg="del mod">
          <ac:chgData name="Aurelien Domont" userId="6da7715ce44349b3" providerId="LiveId" clId="{2CD95218-941C-4820-B0D1-138B992882CB}" dt="2021-04-16T06:27:24.768" v="191" actId="478"/>
          <ac:spMkLst>
            <pc:docMk/>
            <pc:sldMk cId="1675062303" sldId="1929"/>
            <ac:spMk id="23" creationId="{71EEB3D3-7A9E-4ACE-A532-E3B8FA1AF911}"/>
          </ac:spMkLst>
        </pc:spChg>
        <pc:spChg chg="del mod">
          <ac:chgData name="Aurelien Domont" userId="6da7715ce44349b3" providerId="LiveId" clId="{2CD95218-941C-4820-B0D1-138B992882CB}" dt="2021-04-16T06:27:24.768" v="191" actId="478"/>
          <ac:spMkLst>
            <pc:docMk/>
            <pc:sldMk cId="1675062303" sldId="1929"/>
            <ac:spMk id="25" creationId="{E48CC384-DBC8-4399-A0B3-F90285F2E4D8}"/>
          </ac:spMkLst>
        </pc:spChg>
        <pc:spChg chg="del mod">
          <ac:chgData name="Aurelien Domont" userId="6da7715ce44349b3" providerId="LiveId" clId="{2CD95218-941C-4820-B0D1-138B992882CB}" dt="2021-04-16T06:27:24.768" v="191" actId="478"/>
          <ac:spMkLst>
            <pc:docMk/>
            <pc:sldMk cId="1675062303" sldId="1929"/>
            <ac:spMk id="26" creationId="{75C17BE2-394B-47D3-AEB7-AE199C72213A}"/>
          </ac:spMkLst>
        </pc:spChg>
        <pc:spChg chg="del mod">
          <ac:chgData name="Aurelien Domont" userId="6da7715ce44349b3" providerId="LiveId" clId="{2CD95218-941C-4820-B0D1-138B992882CB}" dt="2021-04-16T06:27:24.768" v="191" actId="478"/>
          <ac:spMkLst>
            <pc:docMk/>
            <pc:sldMk cId="1675062303" sldId="1929"/>
            <ac:spMk id="27" creationId="{22B56EC0-CCAF-4D0B-8422-5645350E320D}"/>
          </ac:spMkLst>
        </pc:spChg>
        <pc:spChg chg="del mod">
          <ac:chgData name="Aurelien Domont" userId="6da7715ce44349b3" providerId="LiveId" clId="{2CD95218-941C-4820-B0D1-138B992882CB}" dt="2021-04-16T06:27:24.768" v="191" actId="478"/>
          <ac:spMkLst>
            <pc:docMk/>
            <pc:sldMk cId="1675062303" sldId="1929"/>
            <ac:spMk id="28" creationId="{FF95C198-09A3-433C-9CB7-6D1D1E680B70}"/>
          </ac:spMkLst>
        </pc:spChg>
        <pc:spChg chg="del mod">
          <ac:chgData name="Aurelien Domont" userId="6da7715ce44349b3" providerId="LiveId" clId="{2CD95218-941C-4820-B0D1-138B992882CB}" dt="2021-04-16T06:27:24.768" v="191" actId="478"/>
          <ac:spMkLst>
            <pc:docMk/>
            <pc:sldMk cId="1675062303" sldId="1929"/>
            <ac:spMk id="29" creationId="{A799B42D-5148-4224-9D1C-746794BF5B27}"/>
          </ac:spMkLst>
        </pc:spChg>
        <pc:spChg chg="del mod">
          <ac:chgData name="Aurelien Domont" userId="6da7715ce44349b3" providerId="LiveId" clId="{2CD95218-941C-4820-B0D1-138B992882CB}" dt="2021-04-16T06:27:24.768" v="191" actId="478"/>
          <ac:spMkLst>
            <pc:docMk/>
            <pc:sldMk cId="1675062303" sldId="1929"/>
            <ac:spMk id="30" creationId="{732979A8-CC58-42EF-BBCA-B3579D051B5F}"/>
          </ac:spMkLst>
        </pc:spChg>
        <pc:spChg chg="del mod">
          <ac:chgData name="Aurelien Domont" userId="6da7715ce44349b3" providerId="LiveId" clId="{2CD95218-941C-4820-B0D1-138B992882CB}" dt="2021-04-16T06:27:24.768" v="191" actId="478"/>
          <ac:spMkLst>
            <pc:docMk/>
            <pc:sldMk cId="1675062303" sldId="1929"/>
            <ac:spMk id="31" creationId="{ED861B1F-EC3C-429C-8864-2F5B31F26BC9}"/>
          </ac:spMkLst>
        </pc:spChg>
        <pc:spChg chg="mod">
          <ac:chgData name="Aurelien Domont" userId="6da7715ce44349b3" providerId="LiveId" clId="{2CD95218-941C-4820-B0D1-138B992882CB}" dt="2021-04-19T06:32:05.026" v="959" actId="403"/>
          <ac:spMkLst>
            <pc:docMk/>
            <pc:sldMk cId="1675062303" sldId="1929"/>
            <ac:spMk id="32" creationId="{77C8B9FE-5149-44A2-9C03-07D804D83E7E}"/>
          </ac:spMkLst>
        </pc:spChg>
        <pc:spChg chg="add del">
          <ac:chgData name="Aurelien Domont" userId="6da7715ce44349b3" providerId="LiveId" clId="{2CD95218-941C-4820-B0D1-138B992882CB}" dt="2021-04-16T06:47:30.867" v="617" actId="478"/>
          <ac:spMkLst>
            <pc:docMk/>
            <pc:sldMk cId="1675062303" sldId="1929"/>
            <ac:spMk id="33" creationId="{1E76499A-C9C5-466B-9A08-69E6E8992DE1}"/>
          </ac:spMkLst>
        </pc:spChg>
        <pc:spChg chg="del">
          <ac:chgData name="Aurelien Domont" userId="6da7715ce44349b3" providerId="LiveId" clId="{2CD95218-941C-4820-B0D1-138B992882CB}" dt="2021-04-16T06:47:33.874" v="618" actId="478"/>
          <ac:spMkLst>
            <pc:docMk/>
            <pc:sldMk cId="1675062303" sldId="1929"/>
            <ac:spMk id="34" creationId="{0F79C268-4CB1-4DB8-A586-A3D301590033}"/>
          </ac:spMkLst>
        </pc:spChg>
        <pc:spChg chg="del">
          <ac:chgData name="Aurelien Domont" userId="6da7715ce44349b3" providerId="LiveId" clId="{2CD95218-941C-4820-B0D1-138B992882CB}" dt="2021-04-16T06:47:33.874" v="618" actId="478"/>
          <ac:spMkLst>
            <pc:docMk/>
            <pc:sldMk cId="1675062303" sldId="1929"/>
            <ac:spMk id="35" creationId="{B9BF8C25-1E47-46E0-89A7-D6DA8CEB5948}"/>
          </ac:spMkLst>
        </pc:spChg>
        <pc:spChg chg="del">
          <ac:chgData name="Aurelien Domont" userId="6da7715ce44349b3" providerId="LiveId" clId="{2CD95218-941C-4820-B0D1-138B992882CB}" dt="2021-04-16T06:47:33.874" v="618" actId="478"/>
          <ac:spMkLst>
            <pc:docMk/>
            <pc:sldMk cId="1675062303" sldId="1929"/>
            <ac:spMk id="36" creationId="{F8AAAB72-3590-4008-A46B-63DFC6755E6E}"/>
          </ac:spMkLst>
        </pc:spChg>
        <pc:spChg chg="del">
          <ac:chgData name="Aurelien Domont" userId="6da7715ce44349b3" providerId="LiveId" clId="{2CD95218-941C-4820-B0D1-138B992882CB}" dt="2021-04-16T06:47:33.874" v="618" actId="478"/>
          <ac:spMkLst>
            <pc:docMk/>
            <pc:sldMk cId="1675062303" sldId="1929"/>
            <ac:spMk id="37" creationId="{912E34DD-353F-47A6-AF75-D9CA13C7E87C}"/>
          </ac:spMkLst>
        </pc:spChg>
        <pc:spChg chg="del">
          <ac:chgData name="Aurelien Domont" userId="6da7715ce44349b3" providerId="LiveId" clId="{2CD95218-941C-4820-B0D1-138B992882CB}" dt="2021-04-16T06:47:33.874" v="618" actId="478"/>
          <ac:spMkLst>
            <pc:docMk/>
            <pc:sldMk cId="1675062303" sldId="1929"/>
            <ac:spMk id="38" creationId="{051E8B5B-18D9-47F6-8373-93F0489622F4}"/>
          </ac:spMkLst>
        </pc:spChg>
        <pc:spChg chg="del">
          <ac:chgData name="Aurelien Domont" userId="6da7715ce44349b3" providerId="LiveId" clId="{2CD95218-941C-4820-B0D1-138B992882CB}" dt="2021-04-16T06:47:33.874" v="618" actId="478"/>
          <ac:spMkLst>
            <pc:docMk/>
            <pc:sldMk cId="1675062303" sldId="1929"/>
            <ac:spMk id="39" creationId="{88A7DF6D-E787-4EFA-8266-3E89B8B847C7}"/>
          </ac:spMkLst>
        </pc:spChg>
        <pc:spChg chg="del">
          <ac:chgData name="Aurelien Domont" userId="6da7715ce44349b3" providerId="LiveId" clId="{2CD95218-941C-4820-B0D1-138B992882CB}" dt="2021-04-16T06:47:33.874" v="618" actId="478"/>
          <ac:spMkLst>
            <pc:docMk/>
            <pc:sldMk cId="1675062303" sldId="1929"/>
            <ac:spMk id="40" creationId="{7929A6C7-5C41-4505-9E73-993C8CDEEFFB}"/>
          </ac:spMkLst>
        </pc:spChg>
        <pc:spChg chg="del">
          <ac:chgData name="Aurelien Domont" userId="6da7715ce44349b3" providerId="LiveId" clId="{2CD95218-941C-4820-B0D1-138B992882CB}" dt="2021-04-16T06:47:33.874" v="618" actId="478"/>
          <ac:spMkLst>
            <pc:docMk/>
            <pc:sldMk cId="1675062303" sldId="1929"/>
            <ac:spMk id="41" creationId="{67E43E53-CAE9-40D5-8938-F27548F8F440}"/>
          </ac:spMkLst>
        </pc:spChg>
        <pc:spChg chg="del">
          <ac:chgData name="Aurelien Domont" userId="6da7715ce44349b3" providerId="LiveId" clId="{2CD95218-941C-4820-B0D1-138B992882CB}" dt="2021-04-16T06:47:33.874" v="618" actId="478"/>
          <ac:spMkLst>
            <pc:docMk/>
            <pc:sldMk cId="1675062303" sldId="1929"/>
            <ac:spMk id="42" creationId="{00755CCC-6D6A-4365-887A-D39DFCA265F5}"/>
          </ac:spMkLst>
        </pc:spChg>
        <pc:spChg chg="del">
          <ac:chgData name="Aurelien Domont" userId="6da7715ce44349b3" providerId="LiveId" clId="{2CD95218-941C-4820-B0D1-138B992882CB}" dt="2021-04-16T06:47:33.874" v="618" actId="478"/>
          <ac:spMkLst>
            <pc:docMk/>
            <pc:sldMk cId="1675062303" sldId="1929"/>
            <ac:spMk id="43" creationId="{A76AC0E8-216F-4440-9121-A1FDF7921F27}"/>
          </ac:spMkLst>
        </pc:spChg>
        <pc:spChg chg="add del mod">
          <ac:chgData name="Aurelien Domont" userId="6da7715ce44349b3" providerId="LiveId" clId="{2CD95218-941C-4820-B0D1-138B992882CB}" dt="2021-04-16T06:40:19.021" v="528" actId="478"/>
          <ac:spMkLst>
            <pc:docMk/>
            <pc:sldMk cId="1675062303" sldId="1929"/>
            <ac:spMk id="44" creationId="{8063175A-EE38-4EDD-A0AD-B0A5B8EF51ED}"/>
          </ac:spMkLst>
        </pc:spChg>
        <pc:spChg chg="mod">
          <ac:chgData name="Aurelien Domont" userId="6da7715ce44349b3" providerId="LiveId" clId="{2CD95218-941C-4820-B0D1-138B992882CB}" dt="2021-04-16T06:40:42.976" v="566" actId="1037"/>
          <ac:spMkLst>
            <pc:docMk/>
            <pc:sldMk cId="1675062303" sldId="1929"/>
            <ac:spMk id="45" creationId="{4705B909-F094-4E27-8462-5070FB3C8438}"/>
          </ac:spMkLst>
        </pc:spChg>
        <pc:spChg chg="mod">
          <ac:chgData name="Aurelien Domont" userId="6da7715ce44349b3" providerId="LiveId" clId="{2CD95218-941C-4820-B0D1-138B992882CB}" dt="2021-04-16T06:40:38.246" v="549" actId="1037"/>
          <ac:spMkLst>
            <pc:docMk/>
            <pc:sldMk cId="1675062303" sldId="1929"/>
            <ac:spMk id="46" creationId="{C433C980-B246-49AC-A1F3-5756EE2DA2ED}"/>
          </ac:spMkLst>
        </pc:spChg>
        <pc:spChg chg="mod">
          <ac:chgData name="Aurelien Domont" userId="6da7715ce44349b3" providerId="LiveId" clId="{2CD95218-941C-4820-B0D1-138B992882CB}" dt="2021-04-16T06:40:38.246" v="549" actId="1037"/>
          <ac:spMkLst>
            <pc:docMk/>
            <pc:sldMk cId="1675062303" sldId="1929"/>
            <ac:spMk id="47" creationId="{FF0DCE74-6C68-4FE8-B9BC-EBBB0AE6D7E1}"/>
          </ac:spMkLst>
        </pc:spChg>
        <pc:spChg chg="mod">
          <ac:chgData name="Aurelien Domont" userId="6da7715ce44349b3" providerId="LiveId" clId="{2CD95218-941C-4820-B0D1-138B992882CB}" dt="2021-04-16T06:40:38.246" v="549" actId="1037"/>
          <ac:spMkLst>
            <pc:docMk/>
            <pc:sldMk cId="1675062303" sldId="1929"/>
            <ac:spMk id="48" creationId="{15866024-AF79-4213-8B1A-136E17B43D5F}"/>
          </ac:spMkLst>
        </pc:spChg>
        <pc:spChg chg="mod">
          <ac:chgData name="Aurelien Domont" userId="6da7715ce44349b3" providerId="LiveId" clId="{2CD95218-941C-4820-B0D1-138B992882CB}" dt="2021-04-16T06:40:38.246" v="549" actId="1037"/>
          <ac:spMkLst>
            <pc:docMk/>
            <pc:sldMk cId="1675062303" sldId="1929"/>
            <ac:spMk id="49" creationId="{8E8144B8-DE60-4898-A390-DDAB274DFD00}"/>
          </ac:spMkLst>
        </pc:spChg>
        <pc:spChg chg="mod">
          <ac:chgData name="Aurelien Domont" userId="6da7715ce44349b3" providerId="LiveId" clId="{2CD95218-941C-4820-B0D1-138B992882CB}" dt="2021-04-16T06:40:38.246" v="549" actId="1037"/>
          <ac:spMkLst>
            <pc:docMk/>
            <pc:sldMk cId="1675062303" sldId="1929"/>
            <ac:spMk id="50" creationId="{021A7501-6AAB-40F6-B45B-D5EE90117B55}"/>
          </ac:spMkLst>
        </pc:spChg>
        <pc:spChg chg="mod">
          <ac:chgData name="Aurelien Domont" userId="6da7715ce44349b3" providerId="LiveId" clId="{2CD95218-941C-4820-B0D1-138B992882CB}" dt="2021-04-16T06:40:38.246" v="549" actId="1037"/>
          <ac:spMkLst>
            <pc:docMk/>
            <pc:sldMk cId="1675062303" sldId="1929"/>
            <ac:spMk id="51" creationId="{0FA74DED-0524-47B0-A2AB-F8328467651E}"/>
          </ac:spMkLst>
        </pc:spChg>
        <pc:spChg chg="mod">
          <ac:chgData name="Aurelien Domont" userId="6da7715ce44349b3" providerId="LiveId" clId="{2CD95218-941C-4820-B0D1-138B992882CB}" dt="2021-04-16T06:40:38.246" v="549" actId="1037"/>
          <ac:spMkLst>
            <pc:docMk/>
            <pc:sldMk cId="1675062303" sldId="1929"/>
            <ac:spMk id="57" creationId="{D0871517-2C90-44F0-B6FD-EBDCC938BE9C}"/>
          </ac:spMkLst>
        </pc:spChg>
        <pc:spChg chg="del mod">
          <ac:chgData name="Aurelien Domont" userId="6da7715ce44349b3" providerId="LiveId" clId="{2CD95218-941C-4820-B0D1-138B992882CB}" dt="2021-04-16T06:26:45.083" v="183" actId="478"/>
          <ac:spMkLst>
            <pc:docMk/>
            <pc:sldMk cId="1675062303" sldId="1929"/>
            <ac:spMk id="58" creationId="{97C1FDC6-5BAF-4AAB-BEE2-CA9175EE2556}"/>
          </ac:spMkLst>
        </pc:spChg>
        <pc:spChg chg="del mod">
          <ac:chgData name="Aurelien Domont" userId="6da7715ce44349b3" providerId="LiveId" clId="{2CD95218-941C-4820-B0D1-138B992882CB}" dt="2021-04-16T06:26:51.057" v="185" actId="478"/>
          <ac:spMkLst>
            <pc:docMk/>
            <pc:sldMk cId="1675062303" sldId="1929"/>
            <ac:spMk id="59" creationId="{B56986ED-80A5-4ED2-960F-0FF4D5D86F25}"/>
          </ac:spMkLst>
        </pc:spChg>
        <pc:spChg chg="del mod">
          <ac:chgData name="Aurelien Domont" userId="6da7715ce44349b3" providerId="LiveId" clId="{2CD95218-941C-4820-B0D1-138B992882CB}" dt="2021-04-16T06:26:51.057" v="185" actId="478"/>
          <ac:spMkLst>
            <pc:docMk/>
            <pc:sldMk cId="1675062303" sldId="1929"/>
            <ac:spMk id="60" creationId="{6DCAC2AE-372D-45CD-A17F-1757B651478A}"/>
          </ac:spMkLst>
        </pc:spChg>
        <pc:spChg chg="del mod">
          <ac:chgData name="Aurelien Domont" userId="6da7715ce44349b3" providerId="LiveId" clId="{2CD95218-941C-4820-B0D1-138B992882CB}" dt="2021-04-16T06:26:42.006" v="182" actId="478"/>
          <ac:spMkLst>
            <pc:docMk/>
            <pc:sldMk cId="1675062303" sldId="1929"/>
            <ac:spMk id="61" creationId="{D4422223-98F2-4879-AF5D-F7D382E84879}"/>
          </ac:spMkLst>
        </pc:spChg>
        <pc:spChg chg="del mod">
          <ac:chgData name="Aurelien Domont" userId="6da7715ce44349b3" providerId="LiveId" clId="{2CD95218-941C-4820-B0D1-138B992882CB}" dt="2021-04-16T06:26:42.006" v="182" actId="478"/>
          <ac:spMkLst>
            <pc:docMk/>
            <pc:sldMk cId="1675062303" sldId="1929"/>
            <ac:spMk id="62" creationId="{56803461-2909-45AA-90FD-381E9C858B5A}"/>
          </ac:spMkLst>
        </pc:spChg>
        <pc:spChg chg="del mod">
          <ac:chgData name="Aurelien Domont" userId="6da7715ce44349b3" providerId="LiveId" clId="{2CD95218-941C-4820-B0D1-138B992882CB}" dt="2021-04-16T06:26:45.083" v="183" actId="478"/>
          <ac:spMkLst>
            <pc:docMk/>
            <pc:sldMk cId="1675062303" sldId="1929"/>
            <ac:spMk id="63" creationId="{389DAD2B-6939-4F20-8746-CAF246800D3D}"/>
          </ac:spMkLst>
        </pc:spChg>
        <pc:spChg chg="del mod">
          <ac:chgData name="Aurelien Domont" userId="6da7715ce44349b3" providerId="LiveId" clId="{2CD95218-941C-4820-B0D1-138B992882CB}" dt="2021-04-16T06:26:45.083" v="183" actId="478"/>
          <ac:spMkLst>
            <pc:docMk/>
            <pc:sldMk cId="1675062303" sldId="1929"/>
            <ac:spMk id="64" creationId="{3EA57563-6177-4613-95DE-918ED7C0C476}"/>
          </ac:spMkLst>
        </pc:spChg>
        <pc:spChg chg="del mod">
          <ac:chgData name="Aurelien Domont" userId="6da7715ce44349b3" providerId="LiveId" clId="{2CD95218-941C-4820-B0D1-138B992882CB}" dt="2021-04-16T06:26:45.083" v="183" actId="478"/>
          <ac:spMkLst>
            <pc:docMk/>
            <pc:sldMk cId="1675062303" sldId="1929"/>
            <ac:spMk id="65" creationId="{7651DA90-2DAA-451A-B3C9-F967AF65BF46}"/>
          </ac:spMkLst>
        </pc:spChg>
        <pc:spChg chg="del mod">
          <ac:chgData name="Aurelien Domont" userId="6da7715ce44349b3" providerId="LiveId" clId="{2CD95218-941C-4820-B0D1-138B992882CB}" dt="2021-04-16T06:26:51.057" v="185" actId="478"/>
          <ac:spMkLst>
            <pc:docMk/>
            <pc:sldMk cId="1675062303" sldId="1929"/>
            <ac:spMk id="66" creationId="{DBB99306-6EA6-4077-943E-52653464A6FF}"/>
          </ac:spMkLst>
        </pc:spChg>
        <pc:spChg chg="del mod">
          <ac:chgData name="Aurelien Domont" userId="6da7715ce44349b3" providerId="LiveId" clId="{2CD95218-941C-4820-B0D1-138B992882CB}" dt="2021-04-16T06:26:42.006" v="182" actId="478"/>
          <ac:spMkLst>
            <pc:docMk/>
            <pc:sldMk cId="1675062303" sldId="1929"/>
            <ac:spMk id="67" creationId="{EAEAAD29-09DC-44B0-8969-875380284434}"/>
          </ac:spMkLst>
        </pc:spChg>
        <pc:spChg chg="del mod">
          <ac:chgData name="Aurelien Domont" userId="6da7715ce44349b3" providerId="LiveId" clId="{2CD95218-941C-4820-B0D1-138B992882CB}" dt="2021-04-16T06:26:46.900" v="184" actId="478"/>
          <ac:spMkLst>
            <pc:docMk/>
            <pc:sldMk cId="1675062303" sldId="1929"/>
            <ac:spMk id="68" creationId="{39EFEF67-E674-427B-9F8E-22F7068E93C7}"/>
          </ac:spMkLst>
        </pc:spChg>
        <pc:spChg chg="del mod">
          <ac:chgData name="Aurelien Domont" userId="6da7715ce44349b3" providerId="LiveId" clId="{2CD95218-941C-4820-B0D1-138B992882CB}" dt="2021-04-16T06:26:45.083" v="183" actId="478"/>
          <ac:spMkLst>
            <pc:docMk/>
            <pc:sldMk cId="1675062303" sldId="1929"/>
            <ac:spMk id="69" creationId="{8CFF1A4B-98CD-48E8-94DB-83E22BE983B1}"/>
          </ac:spMkLst>
        </pc:spChg>
        <pc:spChg chg="del mod">
          <ac:chgData name="Aurelien Domont" userId="6da7715ce44349b3" providerId="LiveId" clId="{2CD95218-941C-4820-B0D1-138B992882CB}" dt="2021-04-16T06:26:51.057" v="185" actId="478"/>
          <ac:spMkLst>
            <pc:docMk/>
            <pc:sldMk cId="1675062303" sldId="1929"/>
            <ac:spMk id="70" creationId="{107235FA-E706-4607-B7B3-D5C46906B737}"/>
          </ac:spMkLst>
        </pc:spChg>
        <pc:spChg chg="del mod">
          <ac:chgData name="Aurelien Domont" userId="6da7715ce44349b3" providerId="LiveId" clId="{2CD95218-941C-4820-B0D1-138B992882CB}" dt="2021-04-16T06:26:51.057" v="185" actId="478"/>
          <ac:spMkLst>
            <pc:docMk/>
            <pc:sldMk cId="1675062303" sldId="1929"/>
            <ac:spMk id="71" creationId="{9D0AE14D-4ECA-4673-9395-0327F4E6A94B}"/>
          </ac:spMkLst>
        </pc:spChg>
        <pc:spChg chg="del mod">
          <ac:chgData name="Aurelien Domont" userId="6da7715ce44349b3" providerId="LiveId" clId="{2CD95218-941C-4820-B0D1-138B992882CB}" dt="2021-04-16T06:26:51.057" v="185" actId="478"/>
          <ac:spMkLst>
            <pc:docMk/>
            <pc:sldMk cId="1675062303" sldId="1929"/>
            <ac:spMk id="72" creationId="{D51382CF-07A7-4463-BAAA-1EDAA616F568}"/>
          </ac:spMkLst>
        </pc:spChg>
        <pc:spChg chg="del mod">
          <ac:chgData name="Aurelien Domont" userId="6da7715ce44349b3" providerId="LiveId" clId="{2CD95218-941C-4820-B0D1-138B992882CB}" dt="2021-04-16T06:26:51.057" v="185" actId="478"/>
          <ac:spMkLst>
            <pc:docMk/>
            <pc:sldMk cId="1675062303" sldId="1929"/>
            <ac:spMk id="73" creationId="{65D5E851-1FD3-43CF-8254-11131129A666}"/>
          </ac:spMkLst>
        </pc:spChg>
        <pc:spChg chg="del mod">
          <ac:chgData name="Aurelien Domont" userId="6da7715ce44349b3" providerId="LiveId" clId="{2CD95218-941C-4820-B0D1-138B992882CB}" dt="2021-04-16T06:26:42.006" v="182" actId="478"/>
          <ac:spMkLst>
            <pc:docMk/>
            <pc:sldMk cId="1675062303" sldId="1929"/>
            <ac:spMk id="74" creationId="{59AF48A5-E6A5-4373-90BF-B3DC80C266C9}"/>
          </ac:spMkLst>
        </pc:spChg>
        <pc:spChg chg="del mod">
          <ac:chgData name="Aurelien Domont" userId="6da7715ce44349b3" providerId="LiveId" clId="{2CD95218-941C-4820-B0D1-138B992882CB}" dt="2021-04-16T06:26:42.006" v="182" actId="478"/>
          <ac:spMkLst>
            <pc:docMk/>
            <pc:sldMk cId="1675062303" sldId="1929"/>
            <ac:spMk id="75" creationId="{F31128FD-EAE4-4FCA-AF6C-02B5BC2CA334}"/>
          </ac:spMkLst>
        </pc:spChg>
        <pc:spChg chg="del mod">
          <ac:chgData name="Aurelien Domont" userId="6da7715ce44349b3" providerId="LiveId" clId="{2CD95218-941C-4820-B0D1-138B992882CB}" dt="2021-04-16T06:26:42.006" v="182" actId="478"/>
          <ac:spMkLst>
            <pc:docMk/>
            <pc:sldMk cId="1675062303" sldId="1929"/>
            <ac:spMk id="76" creationId="{E3FB5B44-3F2A-4301-A245-EBCBE59CDE14}"/>
          </ac:spMkLst>
        </pc:spChg>
        <pc:spChg chg="del mod">
          <ac:chgData name="Aurelien Domont" userId="6da7715ce44349b3" providerId="LiveId" clId="{2CD95218-941C-4820-B0D1-138B992882CB}" dt="2021-04-16T06:26:42.006" v="182" actId="478"/>
          <ac:spMkLst>
            <pc:docMk/>
            <pc:sldMk cId="1675062303" sldId="1929"/>
            <ac:spMk id="77" creationId="{26BACEEC-6E56-4B88-88C9-999BE0F02BCB}"/>
          </ac:spMkLst>
        </pc:spChg>
        <pc:spChg chg="del mod">
          <ac:chgData name="Aurelien Domont" userId="6da7715ce44349b3" providerId="LiveId" clId="{2CD95218-941C-4820-B0D1-138B992882CB}" dt="2021-04-16T06:26:42.006" v="182" actId="478"/>
          <ac:spMkLst>
            <pc:docMk/>
            <pc:sldMk cId="1675062303" sldId="1929"/>
            <ac:spMk id="78" creationId="{6F2058C3-3176-44B0-B4C9-CB64CD734F64}"/>
          </ac:spMkLst>
        </pc:spChg>
        <pc:spChg chg="del mod">
          <ac:chgData name="Aurelien Domont" userId="6da7715ce44349b3" providerId="LiveId" clId="{2CD95218-941C-4820-B0D1-138B992882CB}" dt="2021-04-16T06:26:42.006" v="182" actId="478"/>
          <ac:spMkLst>
            <pc:docMk/>
            <pc:sldMk cId="1675062303" sldId="1929"/>
            <ac:spMk id="79" creationId="{7CEECBCB-209E-4004-A7C3-F341CCC76B2B}"/>
          </ac:spMkLst>
        </pc:spChg>
        <pc:spChg chg="del mod">
          <ac:chgData name="Aurelien Domont" userId="6da7715ce44349b3" providerId="LiveId" clId="{2CD95218-941C-4820-B0D1-138B992882CB}" dt="2021-04-16T06:26:42.006" v="182" actId="478"/>
          <ac:spMkLst>
            <pc:docMk/>
            <pc:sldMk cId="1675062303" sldId="1929"/>
            <ac:spMk id="80" creationId="{CC95139A-0FCF-4191-A754-ECF98F81C563}"/>
          </ac:spMkLst>
        </pc:spChg>
        <pc:spChg chg="del mod">
          <ac:chgData name="Aurelien Domont" userId="6da7715ce44349b3" providerId="LiveId" clId="{2CD95218-941C-4820-B0D1-138B992882CB}" dt="2021-04-16T06:26:42.006" v="182" actId="478"/>
          <ac:spMkLst>
            <pc:docMk/>
            <pc:sldMk cId="1675062303" sldId="1929"/>
            <ac:spMk id="81" creationId="{32DC4CF8-D44E-4C3D-8F3C-5E34C0A31A26}"/>
          </ac:spMkLst>
        </pc:spChg>
        <pc:spChg chg="del mod">
          <ac:chgData name="Aurelien Domont" userId="6da7715ce44349b3" providerId="LiveId" clId="{2CD95218-941C-4820-B0D1-138B992882CB}" dt="2021-04-16T06:26:51.057" v="185" actId="478"/>
          <ac:spMkLst>
            <pc:docMk/>
            <pc:sldMk cId="1675062303" sldId="1929"/>
            <ac:spMk id="82" creationId="{15E8B909-F6C6-4C55-AAE8-3E32AED0BDF2}"/>
          </ac:spMkLst>
        </pc:spChg>
        <pc:spChg chg="del mod">
          <ac:chgData name="Aurelien Domont" userId="6da7715ce44349b3" providerId="LiveId" clId="{2CD95218-941C-4820-B0D1-138B992882CB}" dt="2021-04-16T06:26:51.057" v="185" actId="478"/>
          <ac:spMkLst>
            <pc:docMk/>
            <pc:sldMk cId="1675062303" sldId="1929"/>
            <ac:spMk id="83" creationId="{1A1D288D-3576-4D7B-A806-688341BCFA57}"/>
          </ac:spMkLst>
        </pc:spChg>
        <pc:spChg chg="del mod">
          <ac:chgData name="Aurelien Domont" userId="6da7715ce44349b3" providerId="LiveId" clId="{2CD95218-941C-4820-B0D1-138B992882CB}" dt="2021-04-16T06:26:51.057" v="185" actId="478"/>
          <ac:spMkLst>
            <pc:docMk/>
            <pc:sldMk cId="1675062303" sldId="1929"/>
            <ac:spMk id="84" creationId="{084B6A03-DB78-4A73-B29C-B7A380A90F54}"/>
          </ac:spMkLst>
        </pc:spChg>
        <pc:spChg chg="del mod">
          <ac:chgData name="Aurelien Domont" userId="6da7715ce44349b3" providerId="LiveId" clId="{2CD95218-941C-4820-B0D1-138B992882CB}" dt="2021-04-16T06:26:51.057" v="185" actId="478"/>
          <ac:spMkLst>
            <pc:docMk/>
            <pc:sldMk cId="1675062303" sldId="1929"/>
            <ac:spMk id="85" creationId="{F5DAFC9A-C3D0-4B2B-A0EA-B6EDC7B33402}"/>
          </ac:spMkLst>
        </pc:spChg>
        <pc:spChg chg="del mod">
          <ac:chgData name="Aurelien Domont" userId="6da7715ce44349b3" providerId="LiveId" clId="{2CD95218-941C-4820-B0D1-138B992882CB}" dt="2021-04-16T06:26:45.083" v="183" actId="478"/>
          <ac:spMkLst>
            <pc:docMk/>
            <pc:sldMk cId="1675062303" sldId="1929"/>
            <ac:spMk id="86" creationId="{EC44CD73-D50E-4CC6-BC63-2E2C74F8F788}"/>
          </ac:spMkLst>
        </pc:spChg>
        <pc:spChg chg="del mod">
          <ac:chgData name="Aurelien Domont" userId="6da7715ce44349b3" providerId="LiveId" clId="{2CD95218-941C-4820-B0D1-138B992882CB}" dt="2021-04-16T06:26:45.083" v="183" actId="478"/>
          <ac:spMkLst>
            <pc:docMk/>
            <pc:sldMk cId="1675062303" sldId="1929"/>
            <ac:spMk id="87" creationId="{8EFC0302-6E98-4EDE-98D5-B69193E5C4C7}"/>
          </ac:spMkLst>
        </pc:spChg>
        <pc:spChg chg="del mod">
          <ac:chgData name="Aurelien Domont" userId="6da7715ce44349b3" providerId="LiveId" clId="{2CD95218-941C-4820-B0D1-138B992882CB}" dt="2021-04-16T06:26:45.083" v="183" actId="478"/>
          <ac:spMkLst>
            <pc:docMk/>
            <pc:sldMk cId="1675062303" sldId="1929"/>
            <ac:spMk id="88" creationId="{AC2D2195-992A-425C-974B-607571D4D192}"/>
          </ac:spMkLst>
        </pc:spChg>
        <pc:spChg chg="del mod">
          <ac:chgData name="Aurelien Domont" userId="6da7715ce44349b3" providerId="LiveId" clId="{2CD95218-941C-4820-B0D1-138B992882CB}" dt="2021-04-16T06:26:45.083" v="183" actId="478"/>
          <ac:spMkLst>
            <pc:docMk/>
            <pc:sldMk cId="1675062303" sldId="1929"/>
            <ac:spMk id="89" creationId="{B0EC9FF1-A866-4C73-9DE2-C140414CFEDD}"/>
          </ac:spMkLst>
        </pc:spChg>
        <pc:spChg chg="del mod">
          <ac:chgData name="Aurelien Domont" userId="6da7715ce44349b3" providerId="LiveId" clId="{2CD95218-941C-4820-B0D1-138B992882CB}" dt="2021-04-16T06:26:54.416" v="187" actId="478"/>
          <ac:spMkLst>
            <pc:docMk/>
            <pc:sldMk cId="1675062303" sldId="1929"/>
            <ac:spMk id="90" creationId="{64B84C6B-59D3-49AB-A782-10E33CB4DB64}"/>
          </ac:spMkLst>
        </pc:spChg>
        <pc:spChg chg="del mod">
          <ac:chgData name="Aurelien Domont" userId="6da7715ce44349b3" providerId="LiveId" clId="{2CD95218-941C-4820-B0D1-138B992882CB}" dt="2021-04-16T06:26:54.416" v="187" actId="478"/>
          <ac:spMkLst>
            <pc:docMk/>
            <pc:sldMk cId="1675062303" sldId="1929"/>
            <ac:spMk id="91" creationId="{262BA041-A776-4F87-B53B-0DB729F82E3A}"/>
          </ac:spMkLst>
        </pc:spChg>
        <pc:spChg chg="del mod">
          <ac:chgData name="Aurelien Domont" userId="6da7715ce44349b3" providerId="LiveId" clId="{2CD95218-941C-4820-B0D1-138B992882CB}" dt="2021-04-16T06:26:51.057" v="185" actId="478"/>
          <ac:spMkLst>
            <pc:docMk/>
            <pc:sldMk cId="1675062303" sldId="1929"/>
            <ac:spMk id="92" creationId="{55F804BF-3050-469F-9893-7B25AF95BA6F}"/>
          </ac:spMkLst>
        </pc:spChg>
        <pc:spChg chg="del mod">
          <ac:chgData name="Aurelien Domont" userId="6da7715ce44349b3" providerId="LiveId" clId="{2CD95218-941C-4820-B0D1-138B992882CB}" dt="2021-04-16T06:26:51.057" v="185" actId="478"/>
          <ac:spMkLst>
            <pc:docMk/>
            <pc:sldMk cId="1675062303" sldId="1929"/>
            <ac:spMk id="93" creationId="{B07D47FD-F51E-41E4-8DEB-F2151B00D970}"/>
          </ac:spMkLst>
        </pc:spChg>
        <pc:spChg chg="del mod">
          <ac:chgData name="Aurelien Domont" userId="6da7715ce44349b3" providerId="LiveId" clId="{2CD95218-941C-4820-B0D1-138B992882CB}" dt="2021-04-16T06:26:52.990" v="186" actId="478"/>
          <ac:spMkLst>
            <pc:docMk/>
            <pc:sldMk cId="1675062303" sldId="1929"/>
            <ac:spMk id="94" creationId="{3966B713-073C-4D6A-8E8E-F8F55BB9A13A}"/>
          </ac:spMkLst>
        </pc:spChg>
        <pc:spChg chg="del mod">
          <ac:chgData name="Aurelien Domont" userId="6da7715ce44349b3" providerId="LiveId" clId="{2CD95218-941C-4820-B0D1-138B992882CB}" dt="2021-04-16T06:26:52.990" v="186" actId="478"/>
          <ac:spMkLst>
            <pc:docMk/>
            <pc:sldMk cId="1675062303" sldId="1929"/>
            <ac:spMk id="95" creationId="{9C064A66-D7CE-4B43-8CDE-71696F8C815B}"/>
          </ac:spMkLst>
        </pc:spChg>
        <pc:spChg chg="del mod">
          <ac:chgData name="Aurelien Domont" userId="6da7715ce44349b3" providerId="LiveId" clId="{2CD95218-941C-4820-B0D1-138B992882CB}" dt="2021-04-16T06:26:58.367" v="188" actId="478"/>
          <ac:spMkLst>
            <pc:docMk/>
            <pc:sldMk cId="1675062303" sldId="1929"/>
            <ac:spMk id="96" creationId="{4E3C6EF9-35BD-4ADC-B00D-207664BD2BE4}"/>
          </ac:spMkLst>
        </pc:spChg>
        <pc:spChg chg="del mod">
          <ac:chgData name="Aurelien Domont" userId="6da7715ce44349b3" providerId="LiveId" clId="{2CD95218-941C-4820-B0D1-138B992882CB}" dt="2021-04-16T06:26:58.367" v="188" actId="478"/>
          <ac:spMkLst>
            <pc:docMk/>
            <pc:sldMk cId="1675062303" sldId="1929"/>
            <ac:spMk id="97" creationId="{4995D5AE-B164-4EB5-902D-9DEB3D2BA2B2}"/>
          </ac:spMkLst>
        </pc:spChg>
        <pc:spChg chg="del mod">
          <ac:chgData name="Aurelien Domont" userId="6da7715ce44349b3" providerId="LiveId" clId="{2CD95218-941C-4820-B0D1-138B992882CB}" dt="2021-04-16T06:26:51.057" v="185" actId="478"/>
          <ac:spMkLst>
            <pc:docMk/>
            <pc:sldMk cId="1675062303" sldId="1929"/>
            <ac:spMk id="98" creationId="{7A99BC44-B8DE-415A-BD9A-C11B38E01D84}"/>
          </ac:spMkLst>
        </pc:spChg>
        <pc:spChg chg="del mod">
          <ac:chgData name="Aurelien Domont" userId="6da7715ce44349b3" providerId="LiveId" clId="{2CD95218-941C-4820-B0D1-138B992882CB}" dt="2021-04-16T06:27:00.476" v="189" actId="478"/>
          <ac:spMkLst>
            <pc:docMk/>
            <pc:sldMk cId="1675062303" sldId="1929"/>
            <ac:spMk id="99" creationId="{0A537045-93E0-4E13-82CF-307F1C697B3A}"/>
          </ac:spMkLst>
        </pc:spChg>
        <pc:spChg chg="del mod">
          <ac:chgData name="Aurelien Domont" userId="6da7715ce44349b3" providerId="LiveId" clId="{2CD95218-941C-4820-B0D1-138B992882CB}" dt="2021-04-16T06:27:00.476" v="189" actId="478"/>
          <ac:spMkLst>
            <pc:docMk/>
            <pc:sldMk cId="1675062303" sldId="1929"/>
            <ac:spMk id="100" creationId="{1CC1B594-E537-40CB-99A0-921BD302395A}"/>
          </ac:spMkLst>
        </pc:spChg>
        <pc:spChg chg="del mod">
          <ac:chgData name="Aurelien Domont" userId="6da7715ce44349b3" providerId="LiveId" clId="{2CD95218-941C-4820-B0D1-138B992882CB}" dt="2021-04-16T06:27:00.476" v="189" actId="478"/>
          <ac:spMkLst>
            <pc:docMk/>
            <pc:sldMk cId="1675062303" sldId="1929"/>
            <ac:spMk id="101" creationId="{A21D79CA-678B-4914-A14B-CEBF09E3F448}"/>
          </ac:spMkLst>
        </pc:spChg>
        <pc:spChg chg="del mod">
          <ac:chgData name="Aurelien Domont" userId="6da7715ce44349b3" providerId="LiveId" clId="{2CD95218-941C-4820-B0D1-138B992882CB}" dt="2021-04-16T06:27:00.476" v="189" actId="478"/>
          <ac:spMkLst>
            <pc:docMk/>
            <pc:sldMk cId="1675062303" sldId="1929"/>
            <ac:spMk id="102" creationId="{7699DC8D-98D2-48DA-88E5-5F9ADFA3A7F9}"/>
          </ac:spMkLst>
        </pc:spChg>
        <pc:spChg chg="del mod">
          <ac:chgData name="Aurelien Domont" userId="6da7715ce44349b3" providerId="LiveId" clId="{2CD95218-941C-4820-B0D1-138B992882CB}" dt="2021-04-16T06:27:05.688" v="190" actId="478"/>
          <ac:spMkLst>
            <pc:docMk/>
            <pc:sldMk cId="1675062303" sldId="1929"/>
            <ac:spMk id="103" creationId="{E05CE778-AE1A-44D6-8DF0-34BD6301976E}"/>
          </ac:spMkLst>
        </pc:spChg>
        <pc:spChg chg="del mod">
          <ac:chgData name="Aurelien Domont" userId="6da7715ce44349b3" providerId="LiveId" clId="{2CD95218-941C-4820-B0D1-138B992882CB}" dt="2021-04-16T06:27:05.688" v="190" actId="478"/>
          <ac:spMkLst>
            <pc:docMk/>
            <pc:sldMk cId="1675062303" sldId="1929"/>
            <ac:spMk id="104" creationId="{3D93CDB6-B820-4107-8150-EEB22426AFB8}"/>
          </ac:spMkLst>
        </pc:spChg>
        <pc:spChg chg="del mod">
          <ac:chgData name="Aurelien Domont" userId="6da7715ce44349b3" providerId="LiveId" clId="{2CD95218-941C-4820-B0D1-138B992882CB}" dt="2021-04-16T06:27:05.688" v="190" actId="478"/>
          <ac:spMkLst>
            <pc:docMk/>
            <pc:sldMk cId="1675062303" sldId="1929"/>
            <ac:spMk id="105" creationId="{BE74EC44-C769-4191-BE15-7ACD31E7DC5D}"/>
          </ac:spMkLst>
        </pc:spChg>
        <pc:spChg chg="del mod">
          <ac:chgData name="Aurelien Domont" userId="6da7715ce44349b3" providerId="LiveId" clId="{2CD95218-941C-4820-B0D1-138B992882CB}" dt="2021-04-16T06:27:05.688" v="190" actId="478"/>
          <ac:spMkLst>
            <pc:docMk/>
            <pc:sldMk cId="1675062303" sldId="1929"/>
            <ac:spMk id="106" creationId="{9FFBDBF2-859F-4CBA-949A-D358A15E62B7}"/>
          </ac:spMkLst>
        </pc:spChg>
        <pc:spChg chg="del mod">
          <ac:chgData name="Aurelien Domont" userId="6da7715ce44349b3" providerId="LiveId" clId="{2CD95218-941C-4820-B0D1-138B992882CB}" dt="2021-04-16T06:27:05.688" v="190" actId="478"/>
          <ac:spMkLst>
            <pc:docMk/>
            <pc:sldMk cId="1675062303" sldId="1929"/>
            <ac:spMk id="107" creationId="{95503C34-B674-45E3-9B22-9CB1CCFA502A}"/>
          </ac:spMkLst>
        </pc:spChg>
        <pc:spChg chg="del mod">
          <ac:chgData name="Aurelien Domont" userId="6da7715ce44349b3" providerId="LiveId" clId="{2CD95218-941C-4820-B0D1-138B992882CB}" dt="2021-04-16T06:27:05.688" v="190" actId="478"/>
          <ac:spMkLst>
            <pc:docMk/>
            <pc:sldMk cId="1675062303" sldId="1929"/>
            <ac:spMk id="108" creationId="{D203C686-EA0E-42B6-8195-ADE2B4350EB5}"/>
          </ac:spMkLst>
        </pc:spChg>
        <pc:spChg chg="del mod">
          <ac:chgData name="Aurelien Domont" userId="6da7715ce44349b3" providerId="LiveId" clId="{2CD95218-941C-4820-B0D1-138B992882CB}" dt="2021-04-16T06:27:05.688" v="190" actId="478"/>
          <ac:spMkLst>
            <pc:docMk/>
            <pc:sldMk cId="1675062303" sldId="1929"/>
            <ac:spMk id="109" creationId="{CAD45297-3DD0-4367-8D03-615E61D64305}"/>
          </ac:spMkLst>
        </pc:spChg>
        <pc:spChg chg="del mod">
          <ac:chgData name="Aurelien Domont" userId="6da7715ce44349b3" providerId="LiveId" clId="{2CD95218-941C-4820-B0D1-138B992882CB}" dt="2021-04-16T06:27:05.688" v="190" actId="478"/>
          <ac:spMkLst>
            <pc:docMk/>
            <pc:sldMk cId="1675062303" sldId="1929"/>
            <ac:spMk id="110" creationId="{69172CA8-7626-4B32-9FFB-A1BC1402D4E2}"/>
          </ac:spMkLst>
        </pc:spChg>
        <pc:spChg chg="del mod">
          <ac:chgData name="Aurelien Domont" userId="6da7715ce44349b3" providerId="LiveId" clId="{2CD95218-941C-4820-B0D1-138B992882CB}" dt="2021-04-16T06:27:05.688" v="190" actId="478"/>
          <ac:spMkLst>
            <pc:docMk/>
            <pc:sldMk cId="1675062303" sldId="1929"/>
            <ac:spMk id="111" creationId="{6E11F499-C7EC-4EE8-BD33-A005F69FE1EE}"/>
          </ac:spMkLst>
        </pc:spChg>
        <pc:spChg chg="del mod">
          <ac:chgData name="Aurelien Domont" userId="6da7715ce44349b3" providerId="LiveId" clId="{2CD95218-941C-4820-B0D1-138B992882CB}" dt="2021-04-16T06:27:05.688" v="190" actId="478"/>
          <ac:spMkLst>
            <pc:docMk/>
            <pc:sldMk cId="1675062303" sldId="1929"/>
            <ac:spMk id="112" creationId="{216A6E77-0726-495E-8019-17F6BF963B5C}"/>
          </ac:spMkLst>
        </pc:spChg>
        <pc:spChg chg="add mod">
          <ac:chgData name="Aurelien Domont" userId="6da7715ce44349b3" providerId="LiveId" clId="{2CD95218-941C-4820-B0D1-138B992882CB}" dt="2021-04-19T06:32:05.026" v="959" actId="403"/>
          <ac:spMkLst>
            <pc:docMk/>
            <pc:sldMk cId="1675062303" sldId="1929"/>
            <ac:spMk id="113" creationId="{A25F7426-C83A-4996-8F55-11E09AB514FD}"/>
          </ac:spMkLst>
        </pc:spChg>
        <pc:spChg chg="add mod">
          <ac:chgData name="Aurelien Domont" userId="6da7715ce44349b3" providerId="LiveId" clId="{2CD95218-941C-4820-B0D1-138B992882CB}" dt="2021-04-19T06:32:05.026" v="959" actId="403"/>
          <ac:spMkLst>
            <pc:docMk/>
            <pc:sldMk cId="1675062303" sldId="1929"/>
            <ac:spMk id="114" creationId="{617136ED-CBDB-4E11-8547-F8973B50CB97}"/>
          </ac:spMkLst>
        </pc:spChg>
        <pc:spChg chg="add mod">
          <ac:chgData name="Aurelien Domont" userId="6da7715ce44349b3" providerId="LiveId" clId="{2CD95218-941C-4820-B0D1-138B992882CB}" dt="2021-04-19T06:32:05.026" v="959" actId="403"/>
          <ac:spMkLst>
            <pc:docMk/>
            <pc:sldMk cId="1675062303" sldId="1929"/>
            <ac:spMk id="115" creationId="{9EE5EBFC-A934-414B-975C-CE01B940B6CD}"/>
          </ac:spMkLst>
        </pc:spChg>
        <pc:spChg chg="add mod">
          <ac:chgData name="Aurelien Domont" userId="6da7715ce44349b3" providerId="LiveId" clId="{2CD95218-941C-4820-B0D1-138B992882CB}" dt="2021-04-19T06:32:05.026" v="959" actId="403"/>
          <ac:spMkLst>
            <pc:docMk/>
            <pc:sldMk cId="1675062303" sldId="1929"/>
            <ac:spMk id="116" creationId="{F68210B4-67B6-4786-91C0-6D58CED7FF49}"/>
          </ac:spMkLst>
        </pc:spChg>
        <pc:spChg chg="add mod">
          <ac:chgData name="Aurelien Domont" userId="6da7715ce44349b3" providerId="LiveId" clId="{2CD95218-941C-4820-B0D1-138B992882CB}" dt="2021-04-19T06:32:05.026" v="959" actId="403"/>
          <ac:spMkLst>
            <pc:docMk/>
            <pc:sldMk cId="1675062303" sldId="1929"/>
            <ac:spMk id="117" creationId="{091F03B6-C2C5-4F9A-B53A-966DD031D465}"/>
          </ac:spMkLst>
        </pc:spChg>
        <pc:spChg chg="add mod">
          <ac:chgData name="Aurelien Domont" userId="6da7715ce44349b3" providerId="LiveId" clId="{2CD95218-941C-4820-B0D1-138B992882CB}" dt="2021-04-19T06:32:05.026" v="959" actId="403"/>
          <ac:spMkLst>
            <pc:docMk/>
            <pc:sldMk cId="1675062303" sldId="1929"/>
            <ac:spMk id="118" creationId="{94542872-64CB-48E3-87C2-10EBD587FB69}"/>
          </ac:spMkLst>
        </pc:spChg>
        <pc:spChg chg="add mod">
          <ac:chgData name="Aurelien Domont" userId="6da7715ce44349b3" providerId="LiveId" clId="{2CD95218-941C-4820-B0D1-138B992882CB}" dt="2021-04-19T06:32:05.026" v="959" actId="403"/>
          <ac:spMkLst>
            <pc:docMk/>
            <pc:sldMk cId="1675062303" sldId="1929"/>
            <ac:spMk id="119" creationId="{0C540759-0E6E-46EA-AC26-6EB59BE2DF5D}"/>
          </ac:spMkLst>
        </pc:spChg>
        <pc:spChg chg="add mod">
          <ac:chgData name="Aurelien Domont" userId="6da7715ce44349b3" providerId="LiveId" clId="{2CD95218-941C-4820-B0D1-138B992882CB}" dt="2021-04-19T06:32:05.026" v="959" actId="403"/>
          <ac:spMkLst>
            <pc:docMk/>
            <pc:sldMk cId="1675062303" sldId="1929"/>
            <ac:spMk id="120" creationId="{DE186239-6A2C-45CC-95C3-B4F22178B13C}"/>
          </ac:spMkLst>
        </pc:spChg>
        <pc:spChg chg="add mod">
          <ac:chgData name="Aurelien Domont" userId="6da7715ce44349b3" providerId="LiveId" clId="{2CD95218-941C-4820-B0D1-138B992882CB}" dt="2021-04-16T06:40:30.395" v="530" actId="1076"/>
          <ac:spMkLst>
            <pc:docMk/>
            <pc:sldMk cId="1675062303" sldId="1929"/>
            <ac:spMk id="121" creationId="{BD4D2543-5708-42A2-8EE2-B377DF9385FB}"/>
          </ac:spMkLst>
        </pc:spChg>
        <pc:spChg chg="add mod">
          <ac:chgData name="Aurelien Domont" userId="6da7715ce44349b3" providerId="LiveId" clId="{2CD95218-941C-4820-B0D1-138B992882CB}" dt="2021-04-16T06:44:24.864" v="595" actId="571"/>
          <ac:spMkLst>
            <pc:docMk/>
            <pc:sldMk cId="1675062303" sldId="1929"/>
            <ac:spMk id="122" creationId="{BF029220-90D8-420F-94C2-C975146E469A}"/>
          </ac:spMkLst>
        </pc:spChg>
        <pc:spChg chg="add mod">
          <ac:chgData name="Aurelien Domont" userId="6da7715ce44349b3" providerId="LiveId" clId="{2CD95218-941C-4820-B0D1-138B992882CB}" dt="2021-04-16T06:44:24.864" v="595" actId="571"/>
          <ac:spMkLst>
            <pc:docMk/>
            <pc:sldMk cId="1675062303" sldId="1929"/>
            <ac:spMk id="123" creationId="{688DC233-7242-4F5D-B5A6-6086F96267D2}"/>
          </ac:spMkLst>
        </pc:spChg>
        <pc:spChg chg="add mod">
          <ac:chgData name="Aurelien Domont" userId="6da7715ce44349b3" providerId="LiveId" clId="{2CD95218-941C-4820-B0D1-138B992882CB}" dt="2021-04-16T06:44:24.864" v="595" actId="571"/>
          <ac:spMkLst>
            <pc:docMk/>
            <pc:sldMk cId="1675062303" sldId="1929"/>
            <ac:spMk id="124" creationId="{E50225C5-72F4-4901-839B-D92A41A66E84}"/>
          </ac:spMkLst>
        </pc:spChg>
        <pc:spChg chg="add mod">
          <ac:chgData name="Aurelien Domont" userId="6da7715ce44349b3" providerId="LiveId" clId="{2CD95218-941C-4820-B0D1-138B992882CB}" dt="2021-04-16T06:44:24.864" v="595" actId="571"/>
          <ac:spMkLst>
            <pc:docMk/>
            <pc:sldMk cId="1675062303" sldId="1929"/>
            <ac:spMk id="125" creationId="{414898F6-EA4B-4472-8BF1-7F9FBB82B9F2}"/>
          </ac:spMkLst>
        </pc:spChg>
        <pc:spChg chg="add mod">
          <ac:chgData name="Aurelien Domont" userId="6da7715ce44349b3" providerId="LiveId" clId="{2CD95218-941C-4820-B0D1-138B992882CB}" dt="2021-04-16T06:44:24.864" v="595" actId="571"/>
          <ac:spMkLst>
            <pc:docMk/>
            <pc:sldMk cId="1675062303" sldId="1929"/>
            <ac:spMk id="126" creationId="{FA2EF25C-AFCF-4D78-8F1A-76D6AA5C99CB}"/>
          </ac:spMkLst>
        </pc:spChg>
        <pc:spChg chg="add mod">
          <ac:chgData name="Aurelien Domont" userId="6da7715ce44349b3" providerId="LiveId" clId="{2CD95218-941C-4820-B0D1-138B992882CB}" dt="2021-04-16T06:44:24.864" v="595" actId="571"/>
          <ac:spMkLst>
            <pc:docMk/>
            <pc:sldMk cId="1675062303" sldId="1929"/>
            <ac:spMk id="127" creationId="{6F7ED323-71C9-42A6-9110-862805CD27DD}"/>
          </ac:spMkLst>
        </pc:spChg>
        <pc:spChg chg="add mod">
          <ac:chgData name="Aurelien Domont" userId="6da7715ce44349b3" providerId="LiveId" clId="{2CD95218-941C-4820-B0D1-138B992882CB}" dt="2021-04-16T06:44:24.864" v="595" actId="571"/>
          <ac:spMkLst>
            <pc:docMk/>
            <pc:sldMk cId="1675062303" sldId="1929"/>
            <ac:spMk id="128" creationId="{39161F0E-E10A-486A-B1BA-B4FB086D9983}"/>
          </ac:spMkLst>
        </pc:spChg>
        <pc:spChg chg="add mod">
          <ac:chgData name="Aurelien Domont" userId="6da7715ce44349b3" providerId="LiveId" clId="{2CD95218-941C-4820-B0D1-138B992882CB}" dt="2021-04-16T06:44:24.864" v="595" actId="571"/>
          <ac:spMkLst>
            <pc:docMk/>
            <pc:sldMk cId="1675062303" sldId="1929"/>
            <ac:spMk id="129" creationId="{45EC561E-E6B8-4817-8110-320A9CA57708}"/>
          </ac:spMkLst>
        </pc:spChg>
        <pc:spChg chg="add mod">
          <ac:chgData name="Aurelien Domont" userId="6da7715ce44349b3" providerId="LiveId" clId="{2CD95218-941C-4820-B0D1-138B992882CB}" dt="2021-04-16T06:44:24.864" v="595" actId="571"/>
          <ac:spMkLst>
            <pc:docMk/>
            <pc:sldMk cId="1675062303" sldId="1929"/>
            <ac:spMk id="130" creationId="{0507DA3C-E398-4D0F-8B3E-CF196E420732}"/>
          </ac:spMkLst>
        </pc:spChg>
        <pc:spChg chg="add mod">
          <ac:chgData name="Aurelien Domont" userId="6da7715ce44349b3" providerId="LiveId" clId="{2CD95218-941C-4820-B0D1-138B992882CB}" dt="2021-04-16T06:49:42.200" v="702" actId="1038"/>
          <ac:spMkLst>
            <pc:docMk/>
            <pc:sldMk cId="1675062303" sldId="1929"/>
            <ac:spMk id="131" creationId="{C76B7FBD-575B-4C5A-8FB1-1F63D05FA9D3}"/>
          </ac:spMkLst>
        </pc:spChg>
        <pc:spChg chg="add mod">
          <ac:chgData name="Aurelien Domont" userId="6da7715ce44349b3" providerId="LiveId" clId="{2CD95218-941C-4820-B0D1-138B992882CB}" dt="2021-04-16T06:50:01.228" v="703" actId="207"/>
          <ac:spMkLst>
            <pc:docMk/>
            <pc:sldMk cId="1675062303" sldId="1929"/>
            <ac:spMk id="132" creationId="{C4702D20-AE96-4591-B64C-5F6124810436}"/>
          </ac:spMkLst>
        </pc:spChg>
        <pc:spChg chg="add mod">
          <ac:chgData name="Aurelien Domont" userId="6da7715ce44349b3" providerId="LiveId" clId="{2CD95218-941C-4820-B0D1-138B992882CB}" dt="2021-04-16T06:50:06.325" v="704" actId="207"/>
          <ac:spMkLst>
            <pc:docMk/>
            <pc:sldMk cId="1675062303" sldId="1929"/>
            <ac:spMk id="133" creationId="{3C778625-C3D1-48F2-9A33-8781BDF318D9}"/>
          </ac:spMkLst>
        </pc:spChg>
        <pc:spChg chg="add mod">
          <ac:chgData name="Aurelien Domont" userId="6da7715ce44349b3" providerId="LiveId" clId="{2CD95218-941C-4820-B0D1-138B992882CB}" dt="2021-04-19T06:32:05.026" v="959" actId="403"/>
          <ac:spMkLst>
            <pc:docMk/>
            <pc:sldMk cId="1675062303" sldId="1929"/>
            <ac:spMk id="134" creationId="{9F7B0102-BF60-409B-805B-AF8E279D995D}"/>
          </ac:spMkLst>
        </pc:spChg>
        <pc:spChg chg="add mod">
          <ac:chgData name="Aurelien Domont" userId="6da7715ce44349b3" providerId="LiveId" clId="{2CD95218-941C-4820-B0D1-138B992882CB}" dt="2021-04-19T06:32:05.026" v="959" actId="403"/>
          <ac:spMkLst>
            <pc:docMk/>
            <pc:sldMk cId="1675062303" sldId="1929"/>
            <ac:spMk id="135" creationId="{57207B5B-D1F3-4165-913A-654F2037E3F7}"/>
          </ac:spMkLst>
        </pc:spChg>
        <pc:spChg chg="add mod">
          <ac:chgData name="Aurelien Domont" userId="6da7715ce44349b3" providerId="LiveId" clId="{2CD95218-941C-4820-B0D1-138B992882CB}" dt="2021-04-19T06:32:05.026" v="959" actId="403"/>
          <ac:spMkLst>
            <pc:docMk/>
            <pc:sldMk cId="1675062303" sldId="1929"/>
            <ac:spMk id="136" creationId="{DD11B4CC-8375-4E46-9695-8945699A76EB}"/>
          </ac:spMkLst>
        </pc:spChg>
        <pc:spChg chg="add mod">
          <ac:chgData name="Aurelien Domont" userId="6da7715ce44349b3" providerId="LiveId" clId="{2CD95218-941C-4820-B0D1-138B992882CB}" dt="2021-04-19T06:32:05.026" v="959" actId="403"/>
          <ac:spMkLst>
            <pc:docMk/>
            <pc:sldMk cId="1675062303" sldId="1929"/>
            <ac:spMk id="137" creationId="{09F2F1FD-0DD4-4BC9-A134-FA6F6B3532F5}"/>
          </ac:spMkLst>
        </pc:spChg>
        <pc:spChg chg="add mod">
          <ac:chgData name="Aurelien Domont" userId="6da7715ce44349b3" providerId="LiveId" clId="{2CD95218-941C-4820-B0D1-138B992882CB}" dt="2021-04-19T06:32:05.026" v="959" actId="403"/>
          <ac:spMkLst>
            <pc:docMk/>
            <pc:sldMk cId="1675062303" sldId="1929"/>
            <ac:spMk id="138" creationId="{CB843DD2-5ED4-4834-BCF3-CF9547B98AD8}"/>
          </ac:spMkLst>
        </pc:spChg>
        <pc:spChg chg="add mod">
          <ac:chgData name="Aurelien Domont" userId="6da7715ce44349b3" providerId="LiveId" clId="{2CD95218-941C-4820-B0D1-138B992882CB}" dt="2021-04-19T06:32:05.026" v="959" actId="403"/>
          <ac:spMkLst>
            <pc:docMk/>
            <pc:sldMk cId="1675062303" sldId="1929"/>
            <ac:spMk id="139" creationId="{878081A9-CE92-4D3B-826A-E4691FA892B6}"/>
          </ac:spMkLst>
        </pc:spChg>
        <pc:spChg chg="add mod">
          <ac:chgData name="Aurelien Domont" userId="6da7715ce44349b3" providerId="LiveId" clId="{2CD95218-941C-4820-B0D1-138B992882CB}" dt="2021-04-19T06:32:05.026" v="959" actId="403"/>
          <ac:spMkLst>
            <pc:docMk/>
            <pc:sldMk cId="1675062303" sldId="1929"/>
            <ac:spMk id="140" creationId="{FC3954BD-DE92-41AD-B346-CC4FDE7DA8DD}"/>
          </ac:spMkLst>
        </pc:spChg>
        <pc:spChg chg="add mod">
          <ac:chgData name="Aurelien Domont" userId="6da7715ce44349b3" providerId="LiveId" clId="{2CD95218-941C-4820-B0D1-138B992882CB}" dt="2021-04-19T06:32:05.026" v="959" actId="403"/>
          <ac:spMkLst>
            <pc:docMk/>
            <pc:sldMk cId="1675062303" sldId="1929"/>
            <ac:spMk id="141" creationId="{40267ADE-78B5-4E46-9230-EEC44DCF8915}"/>
          </ac:spMkLst>
        </pc:spChg>
        <pc:spChg chg="add mod">
          <ac:chgData name="Aurelien Domont" userId="6da7715ce44349b3" providerId="LiveId" clId="{2CD95218-941C-4820-B0D1-138B992882CB}" dt="2021-04-19T06:32:05.026" v="959" actId="403"/>
          <ac:spMkLst>
            <pc:docMk/>
            <pc:sldMk cId="1675062303" sldId="1929"/>
            <ac:spMk id="142" creationId="{97AC1EF8-79EC-4B9C-B7F5-6A01790A6CFC}"/>
          </ac:spMkLst>
        </pc:spChg>
        <pc:spChg chg="add mod">
          <ac:chgData name="Aurelien Domont" userId="6da7715ce44349b3" providerId="LiveId" clId="{2CD95218-941C-4820-B0D1-138B992882CB}" dt="2021-04-19T06:32:05.026" v="959" actId="403"/>
          <ac:spMkLst>
            <pc:docMk/>
            <pc:sldMk cId="1675062303" sldId="1929"/>
            <ac:spMk id="143" creationId="{CBA393DC-374A-45EC-9D5C-DD66DBC27679}"/>
          </ac:spMkLst>
        </pc:spChg>
        <pc:spChg chg="add mod">
          <ac:chgData name="Aurelien Domont" userId="6da7715ce44349b3" providerId="LiveId" clId="{2CD95218-941C-4820-B0D1-138B992882CB}" dt="2021-04-19T06:32:05.026" v="959" actId="403"/>
          <ac:spMkLst>
            <pc:docMk/>
            <pc:sldMk cId="1675062303" sldId="1929"/>
            <ac:spMk id="144" creationId="{24EBFD13-D8FA-4BB2-8E82-E3DC84588609}"/>
          </ac:spMkLst>
        </pc:spChg>
        <pc:spChg chg="add mod">
          <ac:chgData name="Aurelien Domont" userId="6da7715ce44349b3" providerId="LiveId" clId="{2CD95218-941C-4820-B0D1-138B992882CB}" dt="2021-04-19T06:32:05.026" v="959" actId="403"/>
          <ac:spMkLst>
            <pc:docMk/>
            <pc:sldMk cId="1675062303" sldId="1929"/>
            <ac:spMk id="145" creationId="{B0B0B941-236C-404F-B06F-D297AE66A220}"/>
          </ac:spMkLst>
        </pc:spChg>
        <pc:spChg chg="add mod">
          <ac:chgData name="Aurelien Domont" userId="6da7715ce44349b3" providerId="LiveId" clId="{2CD95218-941C-4820-B0D1-138B992882CB}" dt="2021-04-19T06:32:05.026" v="959" actId="403"/>
          <ac:spMkLst>
            <pc:docMk/>
            <pc:sldMk cId="1675062303" sldId="1929"/>
            <ac:spMk id="146" creationId="{1810207E-BE89-4502-AE0B-98BF06074BB0}"/>
          </ac:spMkLst>
        </pc:spChg>
        <pc:spChg chg="add mod">
          <ac:chgData name="Aurelien Domont" userId="6da7715ce44349b3" providerId="LiveId" clId="{2CD95218-941C-4820-B0D1-138B992882CB}" dt="2021-04-19T06:32:05.026" v="959" actId="403"/>
          <ac:spMkLst>
            <pc:docMk/>
            <pc:sldMk cId="1675062303" sldId="1929"/>
            <ac:spMk id="147" creationId="{EC86A18B-42E0-4F54-B91E-128062C4905F}"/>
          </ac:spMkLst>
        </pc:spChg>
        <pc:spChg chg="add mod">
          <ac:chgData name="Aurelien Domont" userId="6da7715ce44349b3" providerId="LiveId" clId="{2CD95218-941C-4820-B0D1-138B992882CB}" dt="2021-04-19T06:32:05.026" v="959" actId="403"/>
          <ac:spMkLst>
            <pc:docMk/>
            <pc:sldMk cId="1675062303" sldId="1929"/>
            <ac:spMk id="148" creationId="{72CFCA3A-6DEC-4BC5-A658-FBBDECF23617}"/>
          </ac:spMkLst>
        </pc:spChg>
        <pc:spChg chg="add mod">
          <ac:chgData name="Aurelien Domont" userId="6da7715ce44349b3" providerId="LiveId" clId="{2CD95218-941C-4820-B0D1-138B992882CB}" dt="2021-04-19T06:32:05.026" v="959" actId="403"/>
          <ac:spMkLst>
            <pc:docMk/>
            <pc:sldMk cId="1675062303" sldId="1929"/>
            <ac:spMk id="149" creationId="{E90DD80E-E38A-4625-91BD-7FDC9312A827}"/>
          </ac:spMkLst>
        </pc:spChg>
        <pc:spChg chg="add mod">
          <ac:chgData name="Aurelien Domont" userId="6da7715ce44349b3" providerId="LiveId" clId="{2CD95218-941C-4820-B0D1-138B992882CB}" dt="2021-04-19T06:32:05.026" v="959" actId="403"/>
          <ac:spMkLst>
            <pc:docMk/>
            <pc:sldMk cId="1675062303" sldId="1929"/>
            <ac:spMk id="150" creationId="{1FAFB220-21F0-4588-9224-442E3063EE2A}"/>
          </ac:spMkLst>
        </pc:spChg>
        <pc:spChg chg="add mod">
          <ac:chgData name="Aurelien Domont" userId="6da7715ce44349b3" providerId="LiveId" clId="{2CD95218-941C-4820-B0D1-138B992882CB}" dt="2021-04-19T06:32:05.026" v="959" actId="403"/>
          <ac:spMkLst>
            <pc:docMk/>
            <pc:sldMk cId="1675062303" sldId="1929"/>
            <ac:spMk id="151" creationId="{53326BF5-6112-4994-A9DD-3DB8FBAC030B}"/>
          </ac:spMkLst>
        </pc:spChg>
        <pc:spChg chg="add mod">
          <ac:chgData name="Aurelien Domont" userId="6da7715ce44349b3" providerId="LiveId" clId="{2CD95218-941C-4820-B0D1-138B992882CB}" dt="2021-04-19T06:32:05.026" v="959" actId="403"/>
          <ac:spMkLst>
            <pc:docMk/>
            <pc:sldMk cId="1675062303" sldId="1929"/>
            <ac:spMk id="152" creationId="{8D2224F5-2A34-495C-9078-71D32877DE4F}"/>
          </ac:spMkLst>
        </pc:spChg>
        <pc:spChg chg="add mod">
          <ac:chgData name="Aurelien Domont" userId="6da7715ce44349b3" providerId="LiveId" clId="{2CD95218-941C-4820-B0D1-138B992882CB}" dt="2021-04-19T06:32:05.026" v="959" actId="403"/>
          <ac:spMkLst>
            <pc:docMk/>
            <pc:sldMk cId="1675062303" sldId="1929"/>
            <ac:spMk id="153" creationId="{B75A2AEF-BD49-4E7B-8988-854976323B81}"/>
          </ac:spMkLst>
        </pc:spChg>
        <pc:spChg chg="add mod">
          <ac:chgData name="Aurelien Domont" userId="6da7715ce44349b3" providerId="LiveId" clId="{2CD95218-941C-4820-B0D1-138B992882CB}" dt="2021-04-19T06:32:05.026" v="959" actId="403"/>
          <ac:spMkLst>
            <pc:docMk/>
            <pc:sldMk cId="1675062303" sldId="1929"/>
            <ac:spMk id="154" creationId="{3577CCEB-F3AA-475A-9D67-8A938EF2F7EE}"/>
          </ac:spMkLst>
        </pc:spChg>
        <pc:spChg chg="add mod">
          <ac:chgData name="Aurelien Domont" userId="6da7715ce44349b3" providerId="LiveId" clId="{2CD95218-941C-4820-B0D1-138B992882CB}" dt="2021-04-19T06:32:05.026" v="959" actId="403"/>
          <ac:spMkLst>
            <pc:docMk/>
            <pc:sldMk cId="1675062303" sldId="1929"/>
            <ac:spMk id="155" creationId="{A32C28A0-64C1-4752-9999-EDD317702AEB}"/>
          </ac:spMkLst>
        </pc:spChg>
        <pc:spChg chg="add mod">
          <ac:chgData name="Aurelien Domont" userId="6da7715ce44349b3" providerId="LiveId" clId="{2CD95218-941C-4820-B0D1-138B992882CB}" dt="2021-04-19T06:32:05.026" v="959" actId="403"/>
          <ac:spMkLst>
            <pc:docMk/>
            <pc:sldMk cId="1675062303" sldId="1929"/>
            <ac:spMk id="156" creationId="{2AD97465-8C80-44B2-8709-053CF992D6E3}"/>
          </ac:spMkLst>
        </pc:spChg>
        <pc:spChg chg="add mod">
          <ac:chgData name="Aurelien Domont" userId="6da7715ce44349b3" providerId="LiveId" clId="{2CD95218-941C-4820-B0D1-138B992882CB}" dt="2021-04-19T06:32:05.026" v="959" actId="403"/>
          <ac:spMkLst>
            <pc:docMk/>
            <pc:sldMk cId="1675062303" sldId="1929"/>
            <ac:spMk id="157" creationId="{87768643-96E8-4D4F-8897-7C869705224A}"/>
          </ac:spMkLst>
        </pc:spChg>
        <pc:spChg chg="add mod">
          <ac:chgData name="Aurelien Domont" userId="6da7715ce44349b3" providerId="LiveId" clId="{2CD95218-941C-4820-B0D1-138B992882CB}" dt="2021-04-19T06:32:05.026" v="959" actId="403"/>
          <ac:spMkLst>
            <pc:docMk/>
            <pc:sldMk cId="1675062303" sldId="1929"/>
            <ac:spMk id="158" creationId="{D12D99E7-54F3-4DDA-9B48-F445C9AA0126}"/>
          </ac:spMkLst>
        </pc:spChg>
        <pc:spChg chg="add mod">
          <ac:chgData name="Aurelien Domont" userId="6da7715ce44349b3" providerId="LiveId" clId="{2CD95218-941C-4820-B0D1-138B992882CB}" dt="2021-04-19T06:32:05.026" v="959" actId="403"/>
          <ac:spMkLst>
            <pc:docMk/>
            <pc:sldMk cId="1675062303" sldId="1929"/>
            <ac:spMk id="159" creationId="{9854AE39-DA0B-4240-BF0E-47BC08F2A541}"/>
          </ac:spMkLst>
        </pc:spChg>
        <pc:spChg chg="add mod">
          <ac:chgData name="Aurelien Domont" userId="6da7715ce44349b3" providerId="LiveId" clId="{2CD95218-941C-4820-B0D1-138B992882CB}" dt="2021-04-19T06:32:05.026" v="959" actId="403"/>
          <ac:spMkLst>
            <pc:docMk/>
            <pc:sldMk cId="1675062303" sldId="1929"/>
            <ac:spMk id="160" creationId="{2BF676F8-D343-4096-99EC-4ADA96C4F8D2}"/>
          </ac:spMkLst>
        </pc:spChg>
        <pc:grpChg chg="del mod">
          <ac:chgData name="Aurelien Domont" userId="6da7715ce44349b3" providerId="LiveId" clId="{2CD95218-941C-4820-B0D1-138B992882CB}" dt="2021-04-16T06:25:32.484" v="139" actId="165"/>
          <ac:grpSpMkLst>
            <pc:docMk/>
            <pc:sldMk cId="1675062303" sldId="1929"/>
            <ac:grpSpMk id="52" creationId="{4F542718-D14F-43E6-8DBC-0704A9470E16}"/>
          </ac:grpSpMkLst>
        </pc:grpChg>
        <pc:cxnChg chg="mod topLvl">
          <ac:chgData name="Aurelien Domont" userId="6da7715ce44349b3" providerId="LiveId" clId="{2CD95218-941C-4820-B0D1-138B992882CB}" dt="2021-04-16T06:40:38.246" v="549" actId="1037"/>
          <ac:cxnSpMkLst>
            <pc:docMk/>
            <pc:sldMk cId="1675062303" sldId="1929"/>
            <ac:cxnSpMk id="53" creationId="{59056C98-B5BA-40F9-A432-B7B9C998BC04}"/>
          </ac:cxnSpMkLst>
        </pc:cxnChg>
        <pc:cxnChg chg="mod topLvl">
          <ac:chgData name="Aurelien Domont" userId="6da7715ce44349b3" providerId="LiveId" clId="{2CD95218-941C-4820-B0D1-138B992882CB}" dt="2021-04-16T06:40:38.246" v="549" actId="1037"/>
          <ac:cxnSpMkLst>
            <pc:docMk/>
            <pc:sldMk cId="1675062303" sldId="1929"/>
            <ac:cxnSpMk id="54" creationId="{3E366202-1516-4E2B-8C02-57AD0E3DE466}"/>
          </ac:cxnSpMkLst>
        </pc:cxnChg>
        <pc:cxnChg chg="mod topLvl">
          <ac:chgData name="Aurelien Domont" userId="6da7715ce44349b3" providerId="LiveId" clId="{2CD95218-941C-4820-B0D1-138B992882CB}" dt="2021-04-16T06:40:38.246" v="549" actId="1037"/>
          <ac:cxnSpMkLst>
            <pc:docMk/>
            <pc:sldMk cId="1675062303" sldId="1929"/>
            <ac:cxnSpMk id="55" creationId="{BB26BD6D-ADAD-41FE-A83E-69C7C9BAD262}"/>
          </ac:cxnSpMkLst>
        </pc:cxnChg>
        <pc:cxnChg chg="mod topLvl">
          <ac:chgData name="Aurelien Domont" userId="6da7715ce44349b3" providerId="LiveId" clId="{2CD95218-941C-4820-B0D1-138B992882CB}" dt="2021-04-16T06:40:38.246" v="549" actId="1037"/>
          <ac:cxnSpMkLst>
            <pc:docMk/>
            <pc:sldMk cId="1675062303" sldId="1929"/>
            <ac:cxnSpMk id="56" creationId="{6E3867E8-F754-4326-9D42-38736359E90F}"/>
          </ac:cxnSpMkLst>
        </pc:cxnChg>
      </pc:sldChg>
      <pc:sldChg chg="addSp delSp modSp add del mod">
        <pc:chgData name="Aurelien Domont" userId="6da7715ce44349b3" providerId="LiveId" clId="{2CD95218-941C-4820-B0D1-138B992882CB}" dt="2021-04-20T04:46:31.521" v="4027" actId="20577"/>
        <pc:sldMkLst>
          <pc:docMk/>
          <pc:sldMk cId="471658671" sldId="1930"/>
        </pc:sldMkLst>
        <pc:spChg chg="mod">
          <ac:chgData name="Aurelien Domont" userId="6da7715ce44349b3" providerId="LiveId" clId="{2CD95218-941C-4820-B0D1-138B992882CB}" dt="2021-04-20T04:46:31.521" v="4027" actId="20577"/>
          <ac:spMkLst>
            <pc:docMk/>
            <pc:sldMk cId="471658671" sldId="1930"/>
            <ac:spMk id="16" creationId="{6C2BB713-9637-4B9B-938F-E9768876782A}"/>
          </ac:spMkLst>
        </pc:spChg>
        <pc:spChg chg="mod ord">
          <ac:chgData name="Aurelien Domont" userId="6da7715ce44349b3" providerId="LiveId" clId="{2CD95218-941C-4820-B0D1-138B992882CB}" dt="2021-04-20T01:56:58.273" v="1204" actId="1076"/>
          <ac:spMkLst>
            <pc:docMk/>
            <pc:sldMk cId="471658671" sldId="1930"/>
            <ac:spMk id="115" creationId="{47E6D793-402B-40C3-ADA8-A8A0AFB9A327}"/>
          </ac:spMkLst>
        </pc:spChg>
        <pc:picChg chg="add mod">
          <ac:chgData name="Aurelien Domont" userId="6da7715ce44349b3" providerId="LiveId" clId="{2CD95218-941C-4820-B0D1-138B992882CB}" dt="2021-04-20T01:56:39.907" v="1198" actId="1440"/>
          <ac:picMkLst>
            <pc:docMk/>
            <pc:sldMk cId="471658671" sldId="1930"/>
            <ac:picMk id="4" creationId="{B2680DA5-5D4F-4332-A7E2-6125046E51C0}"/>
          </ac:picMkLst>
        </pc:picChg>
        <pc:picChg chg="del">
          <ac:chgData name="Aurelien Domont" userId="6da7715ce44349b3" providerId="LiveId" clId="{2CD95218-941C-4820-B0D1-138B992882CB}" dt="2021-04-20T01:56:09.333" v="1194" actId="478"/>
          <ac:picMkLst>
            <pc:docMk/>
            <pc:sldMk cId="471658671" sldId="1930"/>
            <ac:picMk id="113" creationId="{E336B330-0113-446D-818E-6A2F8F2F5862}"/>
          </ac:picMkLst>
        </pc:picChg>
        <pc:picChg chg="mod ord">
          <ac:chgData name="Aurelien Domont" userId="6da7715ce44349b3" providerId="LiveId" clId="{2CD95218-941C-4820-B0D1-138B992882CB}" dt="2021-04-20T01:56:55.320" v="1203" actId="1076"/>
          <ac:picMkLst>
            <pc:docMk/>
            <pc:sldMk cId="471658671" sldId="1930"/>
            <ac:picMk id="114" creationId="{7A1BDBA4-D060-4EBE-B6E3-8079EB2C3297}"/>
          </ac:picMkLst>
        </pc:picChg>
      </pc:sldChg>
      <pc:sldChg chg="del">
        <pc:chgData name="Aurelien Domont" userId="6da7715ce44349b3" providerId="LiveId" clId="{2CD95218-941C-4820-B0D1-138B992882CB}" dt="2021-04-16T06:19:49.656" v="14" actId="47"/>
        <pc:sldMkLst>
          <pc:docMk/>
          <pc:sldMk cId="1476473816" sldId="1931"/>
        </pc:sldMkLst>
      </pc:sldChg>
      <pc:sldChg chg="add del">
        <pc:chgData name="Aurelien Domont" userId="6da7715ce44349b3" providerId="LiveId" clId="{2CD95218-941C-4820-B0D1-138B992882CB}" dt="2021-04-16T06:51:23.544" v="718" actId="47"/>
        <pc:sldMkLst>
          <pc:docMk/>
          <pc:sldMk cId="3194551129" sldId="1931"/>
        </pc:sldMkLst>
      </pc:sldChg>
      <pc:sldChg chg="del">
        <pc:chgData name="Aurelien Domont" userId="6da7715ce44349b3" providerId="LiveId" clId="{2CD95218-941C-4820-B0D1-138B992882CB}" dt="2021-04-16T06:19:49.656" v="14" actId="47"/>
        <pc:sldMkLst>
          <pc:docMk/>
          <pc:sldMk cId="3974572695" sldId="1932"/>
        </pc:sldMkLst>
      </pc:sldChg>
      <pc:sldChg chg="del">
        <pc:chgData name="Aurelien Domont" userId="6da7715ce44349b3" providerId="LiveId" clId="{2CD95218-941C-4820-B0D1-138B992882CB}" dt="2021-04-16T06:19:49.656" v="14" actId="47"/>
        <pc:sldMkLst>
          <pc:docMk/>
          <pc:sldMk cId="2148320991" sldId="1933"/>
        </pc:sldMkLst>
      </pc:sldChg>
      <pc:sldChg chg="del">
        <pc:chgData name="Aurelien Domont" userId="6da7715ce44349b3" providerId="LiveId" clId="{2CD95218-941C-4820-B0D1-138B992882CB}" dt="2021-04-16T06:19:49.656" v="14" actId="47"/>
        <pc:sldMkLst>
          <pc:docMk/>
          <pc:sldMk cId="1904317979" sldId="1934"/>
        </pc:sldMkLst>
      </pc:sldChg>
      <pc:sldChg chg="del">
        <pc:chgData name="Aurelien Domont" userId="6da7715ce44349b3" providerId="LiveId" clId="{2CD95218-941C-4820-B0D1-138B992882CB}" dt="2021-04-16T06:19:49.656" v="14" actId="47"/>
        <pc:sldMkLst>
          <pc:docMk/>
          <pc:sldMk cId="2958814465" sldId="1935"/>
        </pc:sldMkLst>
      </pc:sldChg>
      <pc:sldChg chg="del">
        <pc:chgData name="Aurelien Domont" userId="6da7715ce44349b3" providerId="LiveId" clId="{2CD95218-941C-4820-B0D1-138B992882CB}" dt="2021-04-16T06:19:49.656" v="14" actId="47"/>
        <pc:sldMkLst>
          <pc:docMk/>
          <pc:sldMk cId="1543338902" sldId="1936"/>
        </pc:sldMkLst>
      </pc:sldChg>
      <pc:sldChg chg="del">
        <pc:chgData name="Aurelien Domont" userId="6da7715ce44349b3" providerId="LiveId" clId="{2CD95218-941C-4820-B0D1-138B992882CB}" dt="2021-04-16T06:19:49.656" v="14" actId="47"/>
        <pc:sldMkLst>
          <pc:docMk/>
          <pc:sldMk cId="832785403" sldId="1943"/>
        </pc:sldMkLst>
      </pc:sldChg>
      <pc:sldChg chg="del">
        <pc:chgData name="Aurelien Domont" userId="6da7715ce44349b3" providerId="LiveId" clId="{2CD95218-941C-4820-B0D1-138B992882CB}" dt="2021-04-16T06:19:49.656" v="14" actId="47"/>
        <pc:sldMkLst>
          <pc:docMk/>
          <pc:sldMk cId="1724388861" sldId="1944"/>
        </pc:sldMkLst>
      </pc:sldChg>
      <pc:sldChg chg="del">
        <pc:chgData name="Aurelien Domont" userId="6da7715ce44349b3" providerId="LiveId" clId="{2CD95218-941C-4820-B0D1-138B992882CB}" dt="2021-04-16T06:19:49.656" v="14" actId="47"/>
        <pc:sldMkLst>
          <pc:docMk/>
          <pc:sldMk cId="3829138991" sldId="1945"/>
        </pc:sldMkLst>
      </pc:sldChg>
      <pc:sldChg chg="del">
        <pc:chgData name="Aurelien Domont" userId="6da7715ce44349b3" providerId="LiveId" clId="{2CD95218-941C-4820-B0D1-138B992882CB}" dt="2021-04-16T06:19:49.656" v="14" actId="47"/>
        <pc:sldMkLst>
          <pc:docMk/>
          <pc:sldMk cId="2601056755" sldId="1946"/>
        </pc:sldMkLst>
      </pc:sldChg>
      <pc:sldChg chg="del">
        <pc:chgData name="Aurelien Domont" userId="6da7715ce44349b3" providerId="LiveId" clId="{2CD95218-941C-4820-B0D1-138B992882CB}" dt="2021-04-16T06:19:49.656" v="14" actId="47"/>
        <pc:sldMkLst>
          <pc:docMk/>
          <pc:sldMk cId="1756555481" sldId="1947"/>
        </pc:sldMkLst>
      </pc:sldChg>
      <pc:sldChg chg="del">
        <pc:chgData name="Aurelien Domont" userId="6da7715ce44349b3" providerId="LiveId" clId="{2CD95218-941C-4820-B0D1-138B992882CB}" dt="2021-04-16T06:19:49.656" v="14" actId="47"/>
        <pc:sldMkLst>
          <pc:docMk/>
          <pc:sldMk cId="3821998682" sldId="1948"/>
        </pc:sldMkLst>
      </pc:sldChg>
      <pc:sldChg chg="del">
        <pc:chgData name="Aurelien Domont" userId="6da7715ce44349b3" providerId="LiveId" clId="{2CD95218-941C-4820-B0D1-138B992882CB}" dt="2021-04-16T06:19:49.656" v="14" actId="47"/>
        <pc:sldMkLst>
          <pc:docMk/>
          <pc:sldMk cId="1835011772" sldId="1949"/>
        </pc:sldMkLst>
      </pc:sldChg>
      <pc:sldChg chg="del">
        <pc:chgData name="Aurelien Domont" userId="6da7715ce44349b3" providerId="LiveId" clId="{2CD95218-941C-4820-B0D1-138B992882CB}" dt="2021-04-16T06:19:49.656" v="14" actId="47"/>
        <pc:sldMkLst>
          <pc:docMk/>
          <pc:sldMk cId="247313450" sldId="1950"/>
        </pc:sldMkLst>
      </pc:sldChg>
      <pc:sldChg chg="del">
        <pc:chgData name="Aurelien Domont" userId="6da7715ce44349b3" providerId="LiveId" clId="{2CD95218-941C-4820-B0D1-138B992882CB}" dt="2021-04-16T06:19:49.656" v="14" actId="47"/>
        <pc:sldMkLst>
          <pc:docMk/>
          <pc:sldMk cId="861151606" sldId="1951"/>
        </pc:sldMkLst>
      </pc:sldChg>
      <pc:sldChg chg="del">
        <pc:chgData name="Aurelien Domont" userId="6da7715ce44349b3" providerId="LiveId" clId="{2CD95218-941C-4820-B0D1-138B992882CB}" dt="2021-04-16T06:19:49.656" v="14" actId="47"/>
        <pc:sldMkLst>
          <pc:docMk/>
          <pc:sldMk cId="2091045330" sldId="1952"/>
        </pc:sldMkLst>
      </pc:sldChg>
      <pc:sldChg chg="del">
        <pc:chgData name="Aurelien Domont" userId="6da7715ce44349b3" providerId="LiveId" clId="{2CD95218-941C-4820-B0D1-138B992882CB}" dt="2021-04-16T06:19:49.656" v="14" actId="47"/>
        <pc:sldMkLst>
          <pc:docMk/>
          <pc:sldMk cId="4032470605" sldId="1953"/>
        </pc:sldMkLst>
      </pc:sldChg>
      <pc:sldChg chg="del">
        <pc:chgData name="Aurelien Domont" userId="6da7715ce44349b3" providerId="LiveId" clId="{2CD95218-941C-4820-B0D1-138B992882CB}" dt="2021-04-16T06:19:49.656" v="14" actId="47"/>
        <pc:sldMkLst>
          <pc:docMk/>
          <pc:sldMk cId="465122809" sldId="1954"/>
        </pc:sldMkLst>
      </pc:sldChg>
      <pc:sldChg chg="del">
        <pc:chgData name="Aurelien Domont" userId="6da7715ce44349b3" providerId="LiveId" clId="{2CD95218-941C-4820-B0D1-138B992882CB}" dt="2021-04-16T06:19:49.656" v="14" actId="47"/>
        <pc:sldMkLst>
          <pc:docMk/>
          <pc:sldMk cId="3264366395" sldId="1955"/>
        </pc:sldMkLst>
      </pc:sldChg>
      <pc:sldChg chg="del">
        <pc:chgData name="Aurelien Domont" userId="6da7715ce44349b3" providerId="LiveId" clId="{2CD95218-941C-4820-B0D1-138B992882CB}" dt="2021-04-16T06:19:49.656" v="14" actId="47"/>
        <pc:sldMkLst>
          <pc:docMk/>
          <pc:sldMk cId="3045459513" sldId="1956"/>
        </pc:sldMkLst>
      </pc:sldChg>
      <pc:sldChg chg="del">
        <pc:chgData name="Aurelien Domont" userId="6da7715ce44349b3" providerId="LiveId" clId="{2CD95218-941C-4820-B0D1-138B992882CB}" dt="2021-04-16T06:19:49.656" v="14" actId="47"/>
        <pc:sldMkLst>
          <pc:docMk/>
          <pc:sldMk cId="3212518478" sldId="1957"/>
        </pc:sldMkLst>
      </pc:sldChg>
      <pc:sldChg chg="del">
        <pc:chgData name="Aurelien Domont" userId="6da7715ce44349b3" providerId="LiveId" clId="{2CD95218-941C-4820-B0D1-138B992882CB}" dt="2021-04-16T06:19:49.656" v="14" actId="47"/>
        <pc:sldMkLst>
          <pc:docMk/>
          <pc:sldMk cId="1332684990" sldId="1958"/>
        </pc:sldMkLst>
      </pc:sldChg>
      <pc:sldChg chg="del">
        <pc:chgData name="Aurelien Domont" userId="6da7715ce44349b3" providerId="LiveId" clId="{2CD95218-941C-4820-B0D1-138B992882CB}" dt="2021-04-16T06:19:49.656" v="14" actId="47"/>
        <pc:sldMkLst>
          <pc:docMk/>
          <pc:sldMk cId="3299486938" sldId="1959"/>
        </pc:sldMkLst>
      </pc:sldChg>
      <pc:sldChg chg="del">
        <pc:chgData name="Aurelien Domont" userId="6da7715ce44349b3" providerId="LiveId" clId="{2CD95218-941C-4820-B0D1-138B992882CB}" dt="2021-04-16T06:19:49.656" v="14" actId="47"/>
        <pc:sldMkLst>
          <pc:docMk/>
          <pc:sldMk cId="1373343180" sldId="1960"/>
        </pc:sldMkLst>
      </pc:sldChg>
      <pc:sldChg chg="del">
        <pc:chgData name="Aurelien Domont" userId="6da7715ce44349b3" providerId="LiveId" clId="{2CD95218-941C-4820-B0D1-138B992882CB}" dt="2021-04-16T06:19:49.656" v="14" actId="47"/>
        <pc:sldMkLst>
          <pc:docMk/>
          <pc:sldMk cId="856320715" sldId="1961"/>
        </pc:sldMkLst>
      </pc:sldChg>
      <pc:sldChg chg="del">
        <pc:chgData name="Aurelien Domont" userId="6da7715ce44349b3" providerId="LiveId" clId="{2CD95218-941C-4820-B0D1-138B992882CB}" dt="2021-04-16T06:19:49.656" v="14" actId="47"/>
        <pc:sldMkLst>
          <pc:docMk/>
          <pc:sldMk cId="46986138" sldId="1962"/>
        </pc:sldMkLst>
      </pc:sldChg>
      <pc:sldChg chg="del">
        <pc:chgData name="Aurelien Domont" userId="6da7715ce44349b3" providerId="LiveId" clId="{2CD95218-941C-4820-B0D1-138B992882CB}" dt="2021-04-16T06:19:49.656" v="14" actId="47"/>
        <pc:sldMkLst>
          <pc:docMk/>
          <pc:sldMk cId="3230212261" sldId="1963"/>
        </pc:sldMkLst>
      </pc:sldChg>
      <pc:sldChg chg="del">
        <pc:chgData name="Aurelien Domont" userId="6da7715ce44349b3" providerId="LiveId" clId="{2CD95218-941C-4820-B0D1-138B992882CB}" dt="2021-04-16T06:19:49.656" v="14" actId="47"/>
        <pc:sldMkLst>
          <pc:docMk/>
          <pc:sldMk cId="2151752702" sldId="1964"/>
        </pc:sldMkLst>
      </pc:sldChg>
      <pc:sldChg chg="del">
        <pc:chgData name="Aurelien Domont" userId="6da7715ce44349b3" providerId="LiveId" clId="{2CD95218-941C-4820-B0D1-138B992882CB}" dt="2021-04-16T06:19:49.656" v="14" actId="47"/>
        <pc:sldMkLst>
          <pc:docMk/>
          <pc:sldMk cId="2719043106" sldId="1965"/>
        </pc:sldMkLst>
      </pc:sldChg>
      <pc:sldChg chg="del">
        <pc:chgData name="Aurelien Domont" userId="6da7715ce44349b3" providerId="LiveId" clId="{2CD95218-941C-4820-B0D1-138B992882CB}" dt="2021-04-16T06:19:49.656" v="14" actId="47"/>
        <pc:sldMkLst>
          <pc:docMk/>
          <pc:sldMk cId="1760472209" sldId="1966"/>
        </pc:sldMkLst>
      </pc:sldChg>
      <pc:sldChg chg="del">
        <pc:chgData name="Aurelien Domont" userId="6da7715ce44349b3" providerId="LiveId" clId="{2CD95218-941C-4820-B0D1-138B992882CB}" dt="2021-04-16T06:19:49.656" v="14" actId="47"/>
        <pc:sldMkLst>
          <pc:docMk/>
          <pc:sldMk cId="442022269" sldId="1967"/>
        </pc:sldMkLst>
      </pc:sldChg>
      <pc:sldChg chg="del">
        <pc:chgData name="Aurelien Domont" userId="6da7715ce44349b3" providerId="LiveId" clId="{2CD95218-941C-4820-B0D1-138B992882CB}" dt="2021-04-16T06:19:49.656" v="14" actId="47"/>
        <pc:sldMkLst>
          <pc:docMk/>
          <pc:sldMk cId="776701674" sldId="1968"/>
        </pc:sldMkLst>
      </pc:sldChg>
      <pc:sldChg chg="del">
        <pc:chgData name="Aurelien Domont" userId="6da7715ce44349b3" providerId="LiveId" clId="{2CD95218-941C-4820-B0D1-138B992882CB}" dt="2021-04-16T06:19:49.656" v="14" actId="47"/>
        <pc:sldMkLst>
          <pc:docMk/>
          <pc:sldMk cId="227595386" sldId="1969"/>
        </pc:sldMkLst>
      </pc:sldChg>
      <pc:sldChg chg="del">
        <pc:chgData name="Aurelien Domont" userId="6da7715ce44349b3" providerId="LiveId" clId="{2CD95218-941C-4820-B0D1-138B992882CB}" dt="2021-04-16T06:19:49.656" v="14" actId="47"/>
        <pc:sldMkLst>
          <pc:docMk/>
          <pc:sldMk cId="1457388413" sldId="1970"/>
        </pc:sldMkLst>
      </pc:sldChg>
      <pc:sldChg chg="del">
        <pc:chgData name="Aurelien Domont" userId="6da7715ce44349b3" providerId="LiveId" clId="{2CD95218-941C-4820-B0D1-138B992882CB}" dt="2021-04-16T06:19:49.656" v="14" actId="47"/>
        <pc:sldMkLst>
          <pc:docMk/>
          <pc:sldMk cId="3330626721" sldId="1971"/>
        </pc:sldMkLst>
      </pc:sldChg>
      <pc:sldChg chg="del">
        <pc:chgData name="Aurelien Domont" userId="6da7715ce44349b3" providerId="LiveId" clId="{2CD95218-941C-4820-B0D1-138B992882CB}" dt="2021-04-16T06:19:49.656" v="14" actId="47"/>
        <pc:sldMkLst>
          <pc:docMk/>
          <pc:sldMk cId="1817574191" sldId="1972"/>
        </pc:sldMkLst>
      </pc:sldChg>
      <pc:sldChg chg="del">
        <pc:chgData name="Aurelien Domont" userId="6da7715ce44349b3" providerId="LiveId" clId="{2CD95218-941C-4820-B0D1-138B992882CB}" dt="2021-04-16T06:19:49.656" v="14" actId="47"/>
        <pc:sldMkLst>
          <pc:docMk/>
          <pc:sldMk cId="417532223" sldId="1973"/>
        </pc:sldMkLst>
      </pc:sldChg>
      <pc:sldChg chg="del">
        <pc:chgData name="Aurelien Domont" userId="6da7715ce44349b3" providerId="LiveId" clId="{2CD95218-941C-4820-B0D1-138B992882CB}" dt="2021-04-16T06:19:49.656" v="14" actId="47"/>
        <pc:sldMkLst>
          <pc:docMk/>
          <pc:sldMk cId="535454910" sldId="1974"/>
        </pc:sldMkLst>
      </pc:sldChg>
      <pc:sldChg chg="del">
        <pc:chgData name="Aurelien Domont" userId="6da7715ce44349b3" providerId="LiveId" clId="{2CD95218-941C-4820-B0D1-138B992882CB}" dt="2021-04-16T06:19:49.656" v="14" actId="47"/>
        <pc:sldMkLst>
          <pc:docMk/>
          <pc:sldMk cId="284582528" sldId="1975"/>
        </pc:sldMkLst>
      </pc:sldChg>
      <pc:sldChg chg="del">
        <pc:chgData name="Aurelien Domont" userId="6da7715ce44349b3" providerId="LiveId" clId="{2CD95218-941C-4820-B0D1-138B992882CB}" dt="2021-04-16T06:19:49.656" v="14" actId="47"/>
        <pc:sldMkLst>
          <pc:docMk/>
          <pc:sldMk cId="2708523607" sldId="1976"/>
        </pc:sldMkLst>
      </pc:sldChg>
      <pc:sldChg chg="del">
        <pc:chgData name="Aurelien Domont" userId="6da7715ce44349b3" providerId="LiveId" clId="{2CD95218-941C-4820-B0D1-138B992882CB}" dt="2021-04-16T06:19:49.656" v="14" actId="47"/>
        <pc:sldMkLst>
          <pc:docMk/>
          <pc:sldMk cId="350950659" sldId="1977"/>
        </pc:sldMkLst>
      </pc:sldChg>
      <pc:sldChg chg="del">
        <pc:chgData name="Aurelien Domont" userId="6da7715ce44349b3" providerId="LiveId" clId="{2CD95218-941C-4820-B0D1-138B992882CB}" dt="2021-04-16T06:19:49.656" v="14" actId="47"/>
        <pc:sldMkLst>
          <pc:docMk/>
          <pc:sldMk cId="2541933330" sldId="1978"/>
        </pc:sldMkLst>
      </pc:sldChg>
      <pc:sldChg chg="del">
        <pc:chgData name="Aurelien Domont" userId="6da7715ce44349b3" providerId="LiveId" clId="{2CD95218-941C-4820-B0D1-138B992882CB}" dt="2021-04-16T06:19:49.656" v="14" actId="47"/>
        <pc:sldMkLst>
          <pc:docMk/>
          <pc:sldMk cId="3936496249" sldId="1979"/>
        </pc:sldMkLst>
      </pc:sldChg>
      <pc:sldChg chg="del">
        <pc:chgData name="Aurelien Domont" userId="6da7715ce44349b3" providerId="LiveId" clId="{2CD95218-941C-4820-B0D1-138B992882CB}" dt="2021-04-16T06:19:49.656" v="14" actId="47"/>
        <pc:sldMkLst>
          <pc:docMk/>
          <pc:sldMk cId="71073920" sldId="1980"/>
        </pc:sldMkLst>
      </pc:sldChg>
      <pc:sldChg chg="del">
        <pc:chgData name="Aurelien Domont" userId="6da7715ce44349b3" providerId="LiveId" clId="{2CD95218-941C-4820-B0D1-138B992882CB}" dt="2021-04-16T06:19:49.656" v="14" actId="47"/>
        <pc:sldMkLst>
          <pc:docMk/>
          <pc:sldMk cId="1036919842" sldId="1981"/>
        </pc:sldMkLst>
      </pc:sldChg>
      <pc:sldChg chg="del">
        <pc:chgData name="Aurelien Domont" userId="6da7715ce44349b3" providerId="LiveId" clId="{2CD95218-941C-4820-B0D1-138B992882CB}" dt="2021-04-16T06:19:49.656" v="14" actId="47"/>
        <pc:sldMkLst>
          <pc:docMk/>
          <pc:sldMk cId="897788978" sldId="1982"/>
        </pc:sldMkLst>
      </pc:sldChg>
      <pc:sldChg chg="del">
        <pc:chgData name="Aurelien Domont" userId="6da7715ce44349b3" providerId="LiveId" clId="{2CD95218-941C-4820-B0D1-138B992882CB}" dt="2021-04-16T06:19:49.656" v="14" actId="47"/>
        <pc:sldMkLst>
          <pc:docMk/>
          <pc:sldMk cId="2261833585" sldId="1983"/>
        </pc:sldMkLst>
      </pc:sldChg>
      <pc:sldChg chg="del">
        <pc:chgData name="Aurelien Domont" userId="6da7715ce44349b3" providerId="LiveId" clId="{2CD95218-941C-4820-B0D1-138B992882CB}" dt="2021-04-16T06:19:49.656" v="14" actId="47"/>
        <pc:sldMkLst>
          <pc:docMk/>
          <pc:sldMk cId="4151434563" sldId="1984"/>
        </pc:sldMkLst>
      </pc:sldChg>
      <pc:sldChg chg="del">
        <pc:chgData name="Aurelien Domont" userId="6da7715ce44349b3" providerId="LiveId" clId="{2CD95218-941C-4820-B0D1-138B992882CB}" dt="2021-04-16T06:19:49.656" v="14" actId="47"/>
        <pc:sldMkLst>
          <pc:docMk/>
          <pc:sldMk cId="2515186341" sldId="1985"/>
        </pc:sldMkLst>
      </pc:sldChg>
      <pc:sldChg chg="del">
        <pc:chgData name="Aurelien Domont" userId="6da7715ce44349b3" providerId="LiveId" clId="{2CD95218-941C-4820-B0D1-138B992882CB}" dt="2021-04-16T06:19:49.656" v="14" actId="47"/>
        <pc:sldMkLst>
          <pc:docMk/>
          <pc:sldMk cId="2055076735" sldId="1986"/>
        </pc:sldMkLst>
      </pc:sldChg>
      <pc:sldChg chg="del">
        <pc:chgData name="Aurelien Domont" userId="6da7715ce44349b3" providerId="LiveId" clId="{2CD95218-941C-4820-B0D1-138B992882CB}" dt="2021-04-16T06:19:49.656" v="14" actId="47"/>
        <pc:sldMkLst>
          <pc:docMk/>
          <pc:sldMk cId="2329338112" sldId="1987"/>
        </pc:sldMkLst>
      </pc:sldChg>
      <pc:sldChg chg="del">
        <pc:chgData name="Aurelien Domont" userId="6da7715ce44349b3" providerId="LiveId" clId="{2CD95218-941C-4820-B0D1-138B992882CB}" dt="2021-04-16T06:19:49.656" v="14" actId="47"/>
        <pc:sldMkLst>
          <pc:docMk/>
          <pc:sldMk cId="2068665984" sldId="1988"/>
        </pc:sldMkLst>
      </pc:sldChg>
      <pc:sldChg chg="del">
        <pc:chgData name="Aurelien Domont" userId="6da7715ce44349b3" providerId="LiveId" clId="{2CD95218-941C-4820-B0D1-138B992882CB}" dt="2021-04-16T06:19:49.656" v="14" actId="47"/>
        <pc:sldMkLst>
          <pc:docMk/>
          <pc:sldMk cId="991805020" sldId="1989"/>
        </pc:sldMkLst>
      </pc:sldChg>
      <pc:sldChg chg="del">
        <pc:chgData name="Aurelien Domont" userId="6da7715ce44349b3" providerId="LiveId" clId="{2CD95218-941C-4820-B0D1-138B992882CB}" dt="2021-04-16T06:19:49.656" v="14" actId="47"/>
        <pc:sldMkLst>
          <pc:docMk/>
          <pc:sldMk cId="1888854566" sldId="1990"/>
        </pc:sldMkLst>
      </pc:sldChg>
      <pc:sldChg chg="del">
        <pc:chgData name="Aurelien Domont" userId="6da7715ce44349b3" providerId="LiveId" clId="{2CD95218-941C-4820-B0D1-138B992882CB}" dt="2021-04-16T06:19:49.656" v="14" actId="47"/>
        <pc:sldMkLst>
          <pc:docMk/>
          <pc:sldMk cId="4013192147" sldId="1991"/>
        </pc:sldMkLst>
      </pc:sldChg>
      <pc:sldChg chg="del">
        <pc:chgData name="Aurelien Domont" userId="6da7715ce44349b3" providerId="LiveId" clId="{2CD95218-941C-4820-B0D1-138B992882CB}" dt="2021-04-16T06:19:49.656" v="14" actId="47"/>
        <pc:sldMkLst>
          <pc:docMk/>
          <pc:sldMk cId="914016889" sldId="1992"/>
        </pc:sldMkLst>
      </pc:sldChg>
      <pc:sldChg chg="del">
        <pc:chgData name="Aurelien Domont" userId="6da7715ce44349b3" providerId="LiveId" clId="{2CD95218-941C-4820-B0D1-138B992882CB}" dt="2021-04-16T06:19:49.656" v="14" actId="47"/>
        <pc:sldMkLst>
          <pc:docMk/>
          <pc:sldMk cId="167198795" sldId="1993"/>
        </pc:sldMkLst>
      </pc:sldChg>
      <pc:sldChg chg="del">
        <pc:chgData name="Aurelien Domont" userId="6da7715ce44349b3" providerId="LiveId" clId="{2CD95218-941C-4820-B0D1-138B992882CB}" dt="2021-04-16T06:19:49.656" v="14" actId="47"/>
        <pc:sldMkLst>
          <pc:docMk/>
          <pc:sldMk cId="3165426898" sldId="1994"/>
        </pc:sldMkLst>
      </pc:sldChg>
      <pc:sldChg chg="del">
        <pc:chgData name="Aurelien Domont" userId="6da7715ce44349b3" providerId="LiveId" clId="{2CD95218-941C-4820-B0D1-138B992882CB}" dt="2021-04-16T06:19:49.656" v="14" actId="47"/>
        <pc:sldMkLst>
          <pc:docMk/>
          <pc:sldMk cId="953211725" sldId="1995"/>
        </pc:sldMkLst>
      </pc:sldChg>
      <pc:sldChg chg="del">
        <pc:chgData name="Aurelien Domont" userId="6da7715ce44349b3" providerId="LiveId" clId="{2CD95218-941C-4820-B0D1-138B992882CB}" dt="2021-04-16T06:19:49.656" v="14" actId="47"/>
        <pc:sldMkLst>
          <pc:docMk/>
          <pc:sldMk cId="1829967840" sldId="1996"/>
        </pc:sldMkLst>
      </pc:sldChg>
      <pc:sldChg chg="del">
        <pc:chgData name="Aurelien Domont" userId="6da7715ce44349b3" providerId="LiveId" clId="{2CD95218-941C-4820-B0D1-138B992882CB}" dt="2021-04-16T06:19:49.656" v="14" actId="47"/>
        <pc:sldMkLst>
          <pc:docMk/>
          <pc:sldMk cId="4140853747" sldId="1997"/>
        </pc:sldMkLst>
      </pc:sldChg>
      <pc:sldChg chg="del">
        <pc:chgData name="Aurelien Domont" userId="6da7715ce44349b3" providerId="LiveId" clId="{2CD95218-941C-4820-B0D1-138B992882CB}" dt="2021-04-16T06:19:49.656" v="14" actId="47"/>
        <pc:sldMkLst>
          <pc:docMk/>
          <pc:sldMk cId="2063840657" sldId="1998"/>
        </pc:sldMkLst>
      </pc:sldChg>
      <pc:sldChg chg="del">
        <pc:chgData name="Aurelien Domont" userId="6da7715ce44349b3" providerId="LiveId" clId="{2CD95218-941C-4820-B0D1-138B992882CB}" dt="2021-04-16T06:19:49.656" v="14" actId="47"/>
        <pc:sldMkLst>
          <pc:docMk/>
          <pc:sldMk cId="3823051356" sldId="1999"/>
        </pc:sldMkLst>
      </pc:sldChg>
      <pc:sldChg chg="del">
        <pc:chgData name="Aurelien Domont" userId="6da7715ce44349b3" providerId="LiveId" clId="{2CD95218-941C-4820-B0D1-138B992882CB}" dt="2021-04-16T06:19:49.656" v="14" actId="47"/>
        <pc:sldMkLst>
          <pc:docMk/>
          <pc:sldMk cId="3453285050" sldId="2000"/>
        </pc:sldMkLst>
      </pc:sldChg>
      <pc:sldChg chg="del">
        <pc:chgData name="Aurelien Domont" userId="6da7715ce44349b3" providerId="LiveId" clId="{2CD95218-941C-4820-B0D1-138B992882CB}" dt="2021-04-16T06:19:49.656" v="14" actId="47"/>
        <pc:sldMkLst>
          <pc:docMk/>
          <pc:sldMk cId="1480423294" sldId="2001"/>
        </pc:sldMkLst>
      </pc:sldChg>
      <pc:sldChg chg="del">
        <pc:chgData name="Aurelien Domont" userId="6da7715ce44349b3" providerId="LiveId" clId="{2CD95218-941C-4820-B0D1-138B992882CB}" dt="2021-04-16T06:19:49.656" v="14" actId="47"/>
        <pc:sldMkLst>
          <pc:docMk/>
          <pc:sldMk cId="793231726" sldId="2002"/>
        </pc:sldMkLst>
      </pc:sldChg>
      <pc:sldChg chg="del">
        <pc:chgData name="Aurelien Domont" userId="6da7715ce44349b3" providerId="LiveId" clId="{2CD95218-941C-4820-B0D1-138B992882CB}" dt="2021-04-16T06:19:49.656" v="14" actId="47"/>
        <pc:sldMkLst>
          <pc:docMk/>
          <pc:sldMk cId="3023691004" sldId="2003"/>
        </pc:sldMkLst>
      </pc:sldChg>
      <pc:sldChg chg="del">
        <pc:chgData name="Aurelien Domont" userId="6da7715ce44349b3" providerId="LiveId" clId="{2CD95218-941C-4820-B0D1-138B992882CB}" dt="2021-04-16T06:19:49.656" v="14" actId="47"/>
        <pc:sldMkLst>
          <pc:docMk/>
          <pc:sldMk cId="872643177" sldId="2004"/>
        </pc:sldMkLst>
      </pc:sldChg>
      <pc:sldChg chg="del">
        <pc:chgData name="Aurelien Domont" userId="6da7715ce44349b3" providerId="LiveId" clId="{2CD95218-941C-4820-B0D1-138B992882CB}" dt="2021-04-16T06:19:49.656" v="14" actId="47"/>
        <pc:sldMkLst>
          <pc:docMk/>
          <pc:sldMk cId="2349657917" sldId="2005"/>
        </pc:sldMkLst>
      </pc:sldChg>
      <pc:sldChg chg="del">
        <pc:chgData name="Aurelien Domont" userId="6da7715ce44349b3" providerId="LiveId" clId="{2CD95218-941C-4820-B0D1-138B992882CB}" dt="2021-04-16T06:19:49.656" v="14" actId="47"/>
        <pc:sldMkLst>
          <pc:docMk/>
          <pc:sldMk cId="1724454977" sldId="2006"/>
        </pc:sldMkLst>
      </pc:sldChg>
      <pc:sldChg chg="del">
        <pc:chgData name="Aurelien Domont" userId="6da7715ce44349b3" providerId="LiveId" clId="{2CD95218-941C-4820-B0D1-138B992882CB}" dt="2021-04-16T06:19:49.656" v="14" actId="47"/>
        <pc:sldMkLst>
          <pc:docMk/>
          <pc:sldMk cId="2694318807" sldId="2007"/>
        </pc:sldMkLst>
      </pc:sldChg>
      <pc:sldChg chg="del">
        <pc:chgData name="Aurelien Domont" userId="6da7715ce44349b3" providerId="LiveId" clId="{2CD95218-941C-4820-B0D1-138B992882CB}" dt="2021-04-16T06:19:49.656" v="14" actId="47"/>
        <pc:sldMkLst>
          <pc:docMk/>
          <pc:sldMk cId="3512896718" sldId="2008"/>
        </pc:sldMkLst>
      </pc:sldChg>
      <pc:sldChg chg="del">
        <pc:chgData name="Aurelien Domont" userId="6da7715ce44349b3" providerId="LiveId" clId="{2CD95218-941C-4820-B0D1-138B992882CB}" dt="2021-04-16T06:19:49.656" v="14" actId="47"/>
        <pc:sldMkLst>
          <pc:docMk/>
          <pc:sldMk cId="1332006057" sldId="2009"/>
        </pc:sldMkLst>
      </pc:sldChg>
      <pc:sldChg chg="del">
        <pc:chgData name="Aurelien Domont" userId="6da7715ce44349b3" providerId="LiveId" clId="{2CD95218-941C-4820-B0D1-138B992882CB}" dt="2021-04-16T06:19:49.656" v="14" actId="47"/>
        <pc:sldMkLst>
          <pc:docMk/>
          <pc:sldMk cId="3743231244" sldId="2010"/>
        </pc:sldMkLst>
      </pc:sldChg>
      <pc:sldChg chg="del">
        <pc:chgData name="Aurelien Domont" userId="6da7715ce44349b3" providerId="LiveId" clId="{2CD95218-941C-4820-B0D1-138B992882CB}" dt="2021-04-16T06:19:49.656" v="14" actId="47"/>
        <pc:sldMkLst>
          <pc:docMk/>
          <pc:sldMk cId="3270380878" sldId="2011"/>
        </pc:sldMkLst>
      </pc:sldChg>
      <pc:sldChg chg="del">
        <pc:chgData name="Aurelien Domont" userId="6da7715ce44349b3" providerId="LiveId" clId="{2CD95218-941C-4820-B0D1-138B992882CB}" dt="2021-04-16T06:19:49.656" v="14" actId="47"/>
        <pc:sldMkLst>
          <pc:docMk/>
          <pc:sldMk cId="3259832518" sldId="2012"/>
        </pc:sldMkLst>
      </pc:sldChg>
      <pc:sldChg chg="del">
        <pc:chgData name="Aurelien Domont" userId="6da7715ce44349b3" providerId="LiveId" clId="{2CD95218-941C-4820-B0D1-138B992882CB}" dt="2021-04-16T06:19:49.656" v="14" actId="47"/>
        <pc:sldMkLst>
          <pc:docMk/>
          <pc:sldMk cId="3359790508" sldId="2013"/>
        </pc:sldMkLst>
      </pc:sldChg>
      <pc:sldChg chg="del">
        <pc:chgData name="Aurelien Domont" userId="6da7715ce44349b3" providerId="LiveId" clId="{2CD95218-941C-4820-B0D1-138B992882CB}" dt="2021-04-16T06:19:49.656" v="14" actId="47"/>
        <pc:sldMkLst>
          <pc:docMk/>
          <pc:sldMk cId="2682380162" sldId="2014"/>
        </pc:sldMkLst>
      </pc:sldChg>
      <pc:sldChg chg="del">
        <pc:chgData name="Aurelien Domont" userId="6da7715ce44349b3" providerId="LiveId" clId="{2CD95218-941C-4820-B0D1-138B992882CB}" dt="2021-04-16T06:19:49.656" v="14" actId="47"/>
        <pc:sldMkLst>
          <pc:docMk/>
          <pc:sldMk cId="139116637" sldId="2015"/>
        </pc:sldMkLst>
      </pc:sldChg>
      <pc:sldChg chg="del">
        <pc:chgData name="Aurelien Domont" userId="6da7715ce44349b3" providerId="LiveId" clId="{2CD95218-941C-4820-B0D1-138B992882CB}" dt="2021-04-16T06:19:49.656" v="14" actId="47"/>
        <pc:sldMkLst>
          <pc:docMk/>
          <pc:sldMk cId="2058427270" sldId="2016"/>
        </pc:sldMkLst>
      </pc:sldChg>
      <pc:sldChg chg="del">
        <pc:chgData name="Aurelien Domont" userId="6da7715ce44349b3" providerId="LiveId" clId="{2CD95218-941C-4820-B0D1-138B992882CB}" dt="2021-04-16T06:19:49.656" v="14" actId="47"/>
        <pc:sldMkLst>
          <pc:docMk/>
          <pc:sldMk cId="2113500125" sldId="2017"/>
        </pc:sldMkLst>
      </pc:sldChg>
      <pc:sldChg chg="del">
        <pc:chgData name="Aurelien Domont" userId="6da7715ce44349b3" providerId="LiveId" clId="{2CD95218-941C-4820-B0D1-138B992882CB}" dt="2021-04-16T06:19:49.656" v="14" actId="47"/>
        <pc:sldMkLst>
          <pc:docMk/>
          <pc:sldMk cId="2044426822" sldId="2018"/>
        </pc:sldMkLst>
      </pc:sldChg>
      <pc:sldChg chg="del">
        <pc:chgData name="Aurelien Domont" userId="6da7715ce44349b3" providerId="LiveId" clId="{2CD95218-941C-4820-B0D1-138B992882CB}" dt="2021-04-16T06:19:49.656" v="14" actId="47"/>
        <pc:sldMkLst>
          <pc:docMk/>
          <pc:sldMk cId="2999380438" sldId="2019"/>
        </pc:sldMkLst>
      </pc:sldChg>
      <pc:sldChg chg="del">
        <pc:chgData name="Aurelien Domont" userId="6da7715ce44349b3" providerId="LiveId" clId="{2CD95218-941C-4820-B0D1-138B992882CB}" dt="2021-04-16T06:19:49.656" v="14" actId="47"/>
        <pc:sldMkLst>
          <pc:docMk/>
          <pc:sldMk cId="3561897072" sldId="2020"/>
        </pc:sldMkLst>
      </pc:sldChg>
      <pc:sldChg chg="del">
        <pc:chgData name="Aurelien Domont" userId="6da7715ce44349b3" providerId="LiveId" clId="{2CD95218-941C-4820-B0D1-138B992882CB}" dt="2021-04-16T06:19:49.656" v="14" actId="47"/>
        <pc:sldMkLst>
          <pc:docMk/>
          <pc:sldMk cId="3054282789" sldId="2021"/>
        </pc:sldMkLst>
      </pc:sldChg>
      <pc:sldChg chg="del">
        <pc:chgData name="Aurelien Domont" userId="6da7715ce44349b3" providerId="LiveId" clId="{2CD95218-941C-4820-B0D1-138B992882CB}" dt="2021-04-16T06:19:49.656" v="14" actId="47"/>
        <pc:sldMkLst>
          <pc:docMk/>
          <pc:sldMk cId="1952205493" sldId="2022"/>
        </pc:sldMkLst>
      </pc:sldChg>
      <pc:sldChg chg="del">
        <pc:chgData name="Aurelien Domont" userId="6da7715ce44349b3" providerId="LiveId" clId="{2CD95218-941C-4820-B0D1-138B992882CB}" dt="2021-04-16T06:19:49.656" v="14" actId="47"/>
        <pc:sldMkLst>
          <pc:docMk/>
          <pc:sldMk cId="1278311518" sldId="2023"/>
        </pc:sldMkLst>
      </pc:sldChg>
      <pc:sldChg chg="del">
        <pc:chgData name="Aurelien Domont" userId="6da7715ce44349b3" providerId="LiveId" clId="{2CD95218-941C-4820-B0D1-138B992882CB}" dt="2021-04-16T06:19:49.656" v="14" actId="47"/>
        <pc:sldMkLst>
          <pc:docMk/>
          <pc:sldMk cId="3268153581" sldId="2024"/>
        </pc:sldMkLst>
      </pc:sldChg>
      <pc:sldChg chg="del">
        <pc:chgData name="Aurelien Domont" userId="6da7715ce44349b3" providerId="LiveId" clId="{2CD95218-941C-4820-B0D1-138B992882CB}" dt="2021-04-16T06:19:49.656" v="14" actId="47"/>
        <pc:sldMkLst>
          <pc:docMk/>
          <pc:sldMk cId="2356573541" sldId="2025"/>
        </pc:sldMkLst>
      </pc:sldChg>
      <pc:sldChg chg="add">
        <pc:chgData name="Aurelien Domont" userId="6da7715ce44349b3" providerId="LiveId" clId="{2CD95218-941C-4820-B0D1-138B992882CB}" dt="2021-04-19T06:45:22.049" v="1192"/>
        <pc:sldMkLst>
          <pc:docMk/>
          <pc:sldMk cId="3028091984" sldId="2146"/>
        </pc:sldMkLst>
      </pc:sldChg>
      <pc:sldChg chg="add">
        <pc:chgData name="Aurelien Domont" userId="6da7715ce44349b3" providerId="LiveId" clId="{2CD95218-941C-4820-B0D1-138B992882CB}" dt="2021-04-19T06:45:22.049" v="1192"/>
        <pc:sldMkLst>
          <pc:docMk/>
          <pc:sldMk cId="705087090" sldId="2147"/>
        </pc:sldMkLst>
      </pc:sldChg>
      <pc:sldChg chg="addSp delSp modSp add mod">
        <pc:chgData name="Aurelien Domont" userId="6da7715ce44349b3" providerId="LiveId" clId="{2CD95218-941C-4820-B0D1-138B992882CB}" dt="2021-04-20T04:44:30.171" v="3989" actId="20577"/>
        <pc:sldMkLst>
          <pc:docMk/>
          <pc:sldMk cId="423301223" sldId="2148"/>
        </pc:sldMkLst>
        <pc:spChg chg="mod">
          <ac:chgData name="Aurelien Domont" userId="6da7715ce44349b3" providerId="LiveId" clId="{2CD95218-941C-4820-B0D1-138B992882CB}" dt="2021-04-20T04:44:30.171" v="3989" actId="20577"/>
          <ac:spMkLst>
            <pc:docMk/>
            <pc:sldMk cId="423301223" sldId="2148"/>
            <ac:spMk id="16" creationId="{6C2BB713-9637-4B9B-938F-E9768876782A}"/>
          </ac:spMkLst>
        </pc:spChg>
        <pc:spChg chg="del mod">
          <ac:chgData name="Aurelien Domont" userId="6da7715ce44349b3" providerId="LiveId" clId="{2CD95218-941C-4820-B0D1-138B992882CB}" dt="2021-04-20T04:39:57.734" v="3921" actId="478"/>
          <ac:spMkLst>
            <pc:docMk/>
            <pc:sldMk cId="423301223" sldId="2148"/>
            <ac:spMk id="24" creationId="{5262883E-429E-4FBD-BE90-9FFFC2CD6641}"/>
          </ac:spMkLst>
        </pc:spChg>
        <pc:graphicFrameChg chg="add mod modGraphic">
          <ac:chgData name="Aurelien Domont" userId="6da7715ce44349b3" providerId="LiveId" clId="{2CD95218-941C-4820-B0D1-138B992882CB}" dt="2021-04-20T04:41:06.445" v="3976"/>
          <ac:graphicFrameMkLst>
            <pc:docMk/>
            <pc:sldMk cId="423301223" sldId="2148"/>
            <ac:graphicFrameMk id="6" creationId="{5C5525D8-81F1-4A24-A0BB-F27EAE382C06}"/>
          </ac:graphicFrameMkLst>
        </pc:graphicFrameChg>
      </pc:sldChg>
      <pc:sldChg chg="add del">
        <pc:chgData name="Aurelien Domont" userId="6da7715ce44349b3" providerId="LiveId" clId="{2CD95218-941C-4820-B0D1-138B992882CB}" dt="2021-04-20T04:05:16.160" v="2787" actId="47"/>
        <pc:sldMkLst>
          <pc:docMk/>
          <pc:sldMk cId="1587869489" sldId="2149"/>
        </pc:sldMkLst>
      </pc:sldChg>
      <pc:sldChg chg="addSp delSp modSp add del mod">
        <pc:chgData name="Aurelien Domont" userId="6da7715ce44349b3" providerId="LiveId" clId="{2CD95218-941C-4820-B0D1-138B992882CB}" dt="2021-04-20T04:00:14.754" v="2741" actId="47"/>
        <pc:sldMkLst>
          <pc:docMk/>
          <pc:sldMk cId="3281813050" sldId="2150"/>
        </pc:sldMkLst>
        <pc:spChg chg="mod">
          <ac:chgData name="Aurelien Domont" userId="6da7715ce44349b3" providerId="LiveId" clId="{2CD95218-941C-4820-B0D1-138B992882CB}" dt="2021-04-20T03:54:25.309" v="2548" actId="20577"/>
          <ac:spMkLst>
            <pc:docMk/>
            <pc:sldMk cId="3281813050" sldId="2150"/>
            <ac:spMk id="6" creationId="{C3CDFF47-2BDF-481B-8C77-A2EE049FF74B}"/>
          </ac:spMkLst>
        </pc:spChg>
        <pc:spChg chg="del mod">
          <ac:chgData name="Aurelien Domont" userId="6da7715ce44349b3" providerId="LiveId" clId="{2CD95218-941C-4820-B0D1-138B992882CB}" dt="2021-04-20T03:58:22.691" v="2700" actId="478"/>
          <ac:spMkLst>
            <pc:docMk/>
            <pc:sldMk cId="3281813050" sldId="2150"/>
            <ac:spMk id="11" creationId="{CC20D042-C261-40FA-9AD5-C92E9BBE6615}"/>
          </ac:spMkLst>
        </pc:spChg>
        <pc:spChg chg="add del mod">
          <ac:chgData name="Aurelien Domont" userId="6da7715ce44349b3" providerId="LiveId" clId="{2CD95218-941C-4820-B0D1-138B992882CB}" dt="2021-04-20T03:58:22.691" v="2700" actId="478"/>
          <ac:spMkLst>
            <pc:docMk/>
            <pc:sldMk cId="3281813050" sldId="2150"/>
            <ac:spMk id="12" creationId="{9D0CD2E9-3F7C-4642-9314-A5A56FD65353}"/>
          </ac:spMkLst>
        </pc:spChg>
        <pc:spChg chg="add mod">
          <ac:chgData name="Aurelien Domont" userId="6da7715ce44349b3" providerId="LiveId" clId="{2CD95218-941C-4820-B0D1-138B992882CB}" dt="2021-04-20T03:58:44.875" v="2710" actId="1076"/>
          <ac:spMkLst>
            <pc:docMk/>
            <pc:sldMk cId="3281813050" sldId="2150"/>
            <ac:spMk id="17" creationId="{505328FD-CFA8-472C-AADB-77604AA9A196}"/>
          </ac:spMkLst>
        </pc:spChg>
        <pc:spChg chg="del mod">
          <ac:chgData name="Aurelien Domont" userId="6da7715ce44349b3" providerId="LiveId" clId="{2CD95218-941C-4820-B0D1-138B992882CB}" dt="2021-04-20T03:56:45.105" v="2599" actId="478"/>
          <ac:spMkLst>
            <pc:docMk/>
            <pc:sldMk cId="3281813050" sldId="2150"/>
            <ac:spMk id="20" creationId="{C59DF6C5-D4AC-4D27-B52A-E815DD763FD8}"/>
          </ac:spMkLst>
        </pc:spChg>
        <pc:spChg chg="del mod">
          <ac:chgData name="Aurelien Domont" userId="6da7715ce44349b3" providerId="LiveId" clId="{2CD95218-941C-4820-B0D1-138B992882CB}" dt="2021-04-20T03:58:22.691" v="2700" actId="478"/>
          <ac:spMkLst>
            <pc:docMk/>
            <pc:sldMk cId="3281813050" sldId="2150"/>
            <ac:spMk id="21" creationId="{F5002797-E4EA-45B8-B820-76ECE0702817}"/>
          </ac:spMkLst>
        </pc:spChg>
        <pc:picChg chg="add mod">
          <ac:chgData name="Aurelien Domont" userId="6da7715ce44349b3" providerId="LiveId" clId="{2CD95218-941C-4820-B0D1-138B992882CB}" dt="2021-04-20T03:58:27.797" v="2703" actId="1076"/>
          <ac:picMkLst>
            <pc:docMk/>
            <pc:sldMk cId="3281813050" sldId="2150"/>
            <ac:picMk id="3" creationId="{177C207C-E9C5-4F72-BD2F-D9590E622F5E}"/>
          </ac:picMkLst>
        </pc:picChg>
        <pc:picChg chg="add mod">
          <ac:chgData name="Aurelien Domont" userId="6da7715ce44349b3" providerId="LiveId" clId="{2CD95218-941C-4820-B0D1-138B992882CB}" dt="2021-04-20T03:58:24.067" v="2701" actId="1076"/>
          <ac:picMkLst>
            <pc:docMk/>
            <pc:sldMk cId="3281813050" sldId="2150"/>
            <ac:picMk id="5" creationId="{2364D466-67B2-4F3D-B207-44E6F410B178}"/>
          </ac:picMkLst>
        </pc:picChg>
        <pc:picChg chg="add mod">
          <ac:chgData name="Aurelien Domont" userId="6da7715ce44349b3" providerId="LiveId" clId="{2CD95218-941C-4820-B0D1-138B992882CB}" dt="2021-04-20T03:58:30.424" v="2704" actId="1076"/>
          <ac:picMkLst>
            <pc:docMk/>
            <pc:sldMk cId="3281813050" sldId="2150"/>
            <ac:picMk id="8" creationId="{7AE82408-0EBB-4A84-8485-6C50815A63F2}"/>
          </ac:picMkLst>
        </pc:picChg>
        <pc:picChg chg="add del mod">
          <ac:chgData name="Aurelien Domont" userId="6da7715ce44349b3" providerId="LiveId" clId="{2CD95218-941C-4820-B0D1-138B992882CB}" dt="2021-04-20T03:57:28.065" v="2657" actId="478"/>
          <ac:picMkLst>
            <pc:docMk/>
            <pc:sldMk cId="3281813050" sldId="2150"/>
            <ac:picMk id="10" creationId="{84E5174D-F42C-48A2-8DA6-7FDCB3C1BD3A}"/>
          </ac:picMkLst>
        </pc:picChg>
      </pc:sldChg>
      <pc:sldChg chg="add del">
        <pc:chgData name="Aurelien Domont" userId="6da7715ce44349b3" providerId="LiveId" clId="{2CD95218-941C-4820-B0D1-138B992882CB}" dt="2021-04-20T04:00:14.754" v="2741" actId="47"/>
        <pc:sldMkLst>
          <pc:docMk/>
          <pc:sldMk cId="1830766342" sldId="2151"/>
        </pc:sldMkLst>
      </pc:sldChg>
      <pc:sldChg chg="addSp delSp modSp add mod">
        <pc:chgData name="Aurelien Domont" userId="6da7715ce44349b3" providerId="LiveId" clId="{2CD95218-941C-4820-B0D1-138B992882CB}" dt="2021-04-20T04:36:51.428" v="3909" actId="465"/>
        <pc:sldMkLst>
          <pc:docMk/>
          <pc:sldMk cId="1324642353" sldId="2152"/>
        </pc:sldMkLst>
        <pc:spChg chg="mod">
          <ac:chgData name="Aurelien Domont" userId="6da7715ce44349b3" providerId="LiveId" clId="{2CD95218-941C-4820-B0D1-138B992882CB}" dt="2021-04-20T04:16:39.360" v="3236" actId="20577"/>
          <ac:spMkLst>
            <pc:docMk/>
            <pc:sldMk cId="1324642353" sldId="2152"/>
            <ac:spMk id="6" creationId="{C3CDFF47-2BDF-481B-8C77-A2EE049FF74B}"/>
          </ac:spMkLst>
        </pc:spChg>
        <pc:spChg chg="mod">
          <ac:chgData name="Aurelien Domont" userId="6da7715ce44349b3" providerId="LiveId" clId="{2CD95218-941C-4820-B0D1-138B992882CB}" dt="2021-04-20T04:36:49.579" v="3908" actId="465"/>
          <ac:spMkLst>
            <pc:docMk/>
            <pc:sldMk cId="1324642353" sldId="2152"/>
            <ac:spMk id="11" creationId="{CC20D042-C261-40FA-9AD5-C92E9BBE6615}"/>
          </ac:spMkLst>
        </pc:spChg>
        <pc:spChg chg="mod">
          <ac:chgData name="Aurelien Domont" userId="6da7715ce44349b3" providerId="LiveId" clId="{2CD95218-941C-4820-B0D1-138B992882CB}" dt="2021-04-20T04:36:49.579" v="3908" actId="465"/>
          <ac:spMkLst>
            <pc:docMk/>
            <pc:sldMk cId="1324642353" sldId="2152"/>
            <ac:spMk id="12" creationId="{9D0CD2E9-3F7C-4642-9314-A5A56FD65353}"/>
          </ac:spMkLst>
        </pc:spChg>
        <pc:spChg chg="add mod">
          <ac:chgData name="Aurelien Domont" userId="6da7715ce44349b3" providerId="LiveId" clId="{2CD95218-941C-4820-B0D1-138B992882CB}" dt="2021-04-20T04:16:54.111" v="3245" actId="20577"/>
          <ac:spMkLst>
            <pc:docMk/>
            <pc:sldMk cId="1324642353" sldId="2152"/>
            <ac:spMk id="14" creationId="{05C7ABA3-592D-494A-A845-ADFDA1E4756F}"/>
          </ac:spMkLst>
        </pc:spChg>
        <pc:spChg chg="mod">
          <ac:chgData name="Aurelien Domont" userId="6da7715ce44349b3" providerId="LiveId" clId="{2CD95218-941C-4820-B0D1-138B992882CB}" dt="2021-04-20T04:33:47.064" v="3889" actId="404"/>
          <ac:spMkLst>
            <pc:docMk/>
            <pc:sldMk cId="1324642353" sldId="2152"/>
            <ac:spMk id="16" creationId="{6C2BB713-9637-4B9B-938F-E9768876782A}"/>
          </ac:spMkLst>
        </pc:spChg>
        <pc:spChg chg="add mod">
          <ac:chgData name="Aurelien Domont" userId="6da7715ce44349b3" providerId="LiveId" clId="{2CD95218-941C-4820-B0D1-138B992882CB}" dt="2021-04-20T04:36:40.993" v="3907" actId="1036"/>
          <ac:spMkLst>
            <pc:docMk/>
            <pc:sldMk cId="1324642353" sldId="2152"/>
            <ac:spMk id="18" creationId="{6D0D68B1-9DCF-46E2-87CD-C0AFC2962BA3}"/>
          </ac:spMkLst>
        </pc:spChg>
        <pc:spChg chg="mod">
          <ac:chgData name="Aurelien Domont" userId="6da7715ce44349b3" providerId="LiveId" clId="{2CD95218-941C-4820-B0D1-138B992882CB}" dt="2021-04-20T04:36:49.579" v="3908" actId="465"/>
          <ac:spMkLst>
            <pc:docMk/>
            <pc:sldMk cId="1324642353" sldId="2152"/>
            <ac:spMk id="21" creationId="{F5002797-E4EA-45B8-B820-76ECE0702817}"/>
          </ac:spMkLst>
        </pc:spChg>
        <pc:picChg chg="mod">
          <ac:chgData name="Aurelien Domont" userId="6da7715ce44349b3" providerId="LiveId" clId="{2CD95218-941C-4820-B0D1-138B992882CB}" dt="2021-04-20T04:36:51.428" v="3909" actId="465"/>
          <ac:picMkLst>
            <pc:docMk/>
            <pc:sldMk cId="1324642353" sldId="2152"/>
            <ac:picMk id="3" creationId="{177C207C-E9C5-4F72-BD2F-D9590E622F5E}"/>
          </ac:picMkLst>
        </pc:picChg>
        <pc:picChg chg="add mod">
          <ac:chgData name="Aurelien Domont" userId="6da7715ce44349b3" providerId="LiveId" clId="{2CD95218-941C-4820-B0D1-138B992882CB}" dt="2021-04-20T04:07:39.882" v="2938" actId="207"/>
          <ac:picMkLst>
            <pc:docMk/>
            <pc:sldMk cId="1324642353" sldId="2152"/>
            <ac:picMk id="4" creationId="{8BFAD7E0-FAF3-4A7F-85D7-23D126159742}"/>
          </ac:picMkLst>
        </pc:picChg>
        <pc:picChg chg="mod">
          <ac:chgData name="Aurelien Domont" userId="6da7715ce44349b3" providerId="LiveId" clId="{2CD95218-941C-4820-B0D1-138B992882CB}" dt="2021-04-20T04:36:51.428" v="3909" actId="465"/>
          <ac:picMkLst>
            <pc:docMk/>
            <pc:sldMk cId="1324642353" sldId="2152"/>
            <ac:picMk id="5" creationId="{2364D466-67B2-4F3D-B207-44E6F410B178}"/>
          </ac:picMkLst>
        </pc:picChg>
        <pc:picChg chg="mod">
          <ac:chgData name="Aurelien Domont" userId="6da7715ce44349b3" providerId="LiveId" clId="{2CD95218-941C-4820-B0D1-138B992882CB}" dt="2021-04-20T04:36:51.428" v="3909" actId="465"/>
          <ac:picMkLst>
            <pc:docMk/>
            <pc:sldMk cId="1324642353" sldId="2152"/>
            <ac:picMk id="8" creationId="{7AE82408-0EBB-4A84-8485-6C50815A63F2}"/>
          </ac:picMkLst>
        </pc:picChg>
        <pc:picChg chg="add mod">
          <ac:chgData name="Aurelien Domont" userId="6da7715ce44349b3" providerId="LiveId" clId="{2CD95218-941C-4820-B0D1-138B992882CB}" dt="2021-04-20T04:36:40.993" v="3907" actId="1036"/>
          <ac:picMkLst>
            <pc:docMk/>
            <pc:sldMk cId="1324642353" sldId="2152"/>
            <ac:picMk id="9" creationId="{D861C705-A534-40EE-AF44-8BEF75E73C3A}"/>
          </ac:picMkLst>
        </pc:picChg>
        <pc:picChg chg="add del mod">
          <ac:chgData name="Aurelien Domont" userId="6da7715ce44349b3" providerId="LiveId" clId="{2CD95218-941C-4820-B0D1-138B992882CB}" dt="2021-04-20T04:07:26.776" v="2932" actId="478"/>
          <ac:picMkLst>
            <pc:docMk/>
            <pc:sldMk cId="1324642353" sldId="2152"/>
            <ac:picMk id="15" creationId="{49FA7E12-06DF-4BEA-89D5-3A0B088F7140}"/>
          </ac:picMkLst>
        </pc:picChg>
        <pc:picChg chg="add del mod">
          <ac:chgData name="Aurelien Domont" userId="6da7715ce44349b3" providerId="LiveId" clId="{2CD95218-941C-4820-B0D1-138B992882CB}" dt="2021-04-20T04:21:42.641" v="3378" actId="478"/>
          <ac:picMkLst>
            <pc:docMk/>
            <pc:sldMk cId="1324642353" sldId="2152"/>
            <ac:picMk id="17" creationId="{A9DDB489-8F00-4139-8C88-82482DD9CE04}"/>
          </ac:picMkLst>
        </pc:picChg>
      </pc:sldChg>
      <pc:sldChg chg="addSp delSp modSp add mod">
        <pc:chgData name="Aurelien Domont" userId="6da7715ce44349b3" providerId="LiveId" clId="{2CD95218-941C-4820-B0D1-138B992882CB}" dt="2021-04-20T04:46:00.228" v="4025" actId="20577"/>
        <pc:sldMkLst>
          <pc:docMk/>
          <pc:sldMk cId="2226532108" sldId="2153"/>
        </pc:sldMkLst>
        <pc:spChg chg="del mod">
          <ac:chgData name="Aurelien Domont" userId="6da7715ce44349b3" providerId="LiveId" clId="{2CD95218-941C-4820-B0D1-138B992882CB}" dt="2021-04-20T04:24:19.268" v="3501" actId="478"/>
          <ac:spMkLst>
            <pc:docMk/>
            <pc:sldMk cId="2226532108" sldId="2153"/>
            <ac:spMk id="6" creationId="{C3CDFF47-2BDF-481B-8C77-A2EE049FF74B}"/>
          </ac:spMkLst>
        </pc:spChg>
        <pc:spChg chg="del">
          <ac:chgData name="Aurelien Domont" userId="6da7715ce44349b3" providerId="LiveId" clId="{2CD95218-941C-4820-B0D1-138B992882CB}" dt="2021-04-20T04:25:31.360" v="3502" actId="478"/>
          <ac:spMkLst>
            <pc:docMk/>
            <pc:sldMk cId="2226532108" sldId="2153"/>
            <ac:spMk id="11" creationId="{CC20D042-C261-40FA-9AD5-C92E9BBE6615}"/>
          </ac:spMkLst>
        </pc:spChg>
        <pc:spChg chg="del">
          <ac:chgData name="Aurelien Domont" userId="6da7715ce44349b3" providerId="LiveId" clId="{2CD95218-941C-4820-B0D1-138B992882CB}" dt="2021-04-20T04:25:31.360" v="3502" actId="478"/>
          <ac:spMkLst>
            <pc:docMk/>
            <pc:sldMk cId="2226532108" sldId="2153"/>
            <ac:spMk id="12" creationId="{9D0CD2E9-3F7C-4642-9314-A5A56FD65353}"/>
          </ac:spMkLst>
        </pc:spChg>
        <pc:spChg chg="del">
          <ac:chgData name="Aurelien Domont" userId="6da7715ce44349b3" providerId="LiveId" clId="{2CD95218-941C-4820-B0D1-138B992882CB}" dt="2021-04-20T04:25:31.360" v="3502" actId="478"/>
          <ac:spMkLst>
            <pc:docMk/>
            <pc:sldMk cId="2226532108" sldId="2153"/>
            <ac:spMk id="14" creationId="{05C7ABA3-592D-494A-A845-ADFDA1E4756F}"/>
          </ac:spMkLst>
        </pc:spChg>
        <pc:spChg chg="add del mod">
          <ac:chgData name="Aurelien Domont" userId="6da7715ce44349b3" providerId="LiveId" clId="{2CD95218-941C-4820-B0D1-138B992882CB}" dt="2021-04-20T04:30:57.150" v="3877" actId="478"/>
          <ac:spMkLst>
            <pc:docMk/>
            <pc:sldMk cId="2226532108" sldId="2153"/>
            <ac:spMk id="15" creationId="{422C1AB2-75CA-4756-974B-AD20BFE89FA5}"/>
          </ac:spMkLst>
        </pc:spChg>
        <pc:spChg chg="mod">
          <ac:chgData name="Aurelien Domont" userId="6da7715ce44349b3" providerId="LiveId" clId="{2CD95218-941C-4820-B0D1-138B992882CB}" dt="2021-04-20T04:33:51.955" v="3890" actId="404"/>
          <ac:spMkLst>
            <pc:docMk/>
            <pc:sldMk cId="2226532108" sldId="2153"/>
            <ac:spMk id="16" creationId="{6C2BB713-9637-4B9B-938F-E9768876782A}"/>
          </ac:spMkLst>
        </pc:spChg>
        <pc:spChg chg="add del mod">
          <ac:chgData name="Aurelien Domont" userId="6da7715ce44349b3" providerId="LiveId" clId="{2CD95218-941C-4820-B0D1-138B992882CB}" dt="2021-04-20T04:30:57.150" v="3877" actId="478"/>
          <ac:spMkLst>
            <pc:docMk/>
            <pc:sldMk cId="2226532108" sldId="2153"/>
            <ac:spMk id="17" creationId="{30CE0B60-80F5-4732-8EB6-2AD2E3223225}"/>
          </ac:spMkLst>
        </pc:spChg>
        <pc:spChg chg="del">
          <ac:chgData name="Aurelien Domont" userId="6da7715ce44349b3" providerId="LiveId" clId="{2CD95218-941C-4820-B0D1-138B992882CB}" dt="2021-04-20T04:25:31.360" v="3502" actId="478"/>
          <ac:spMkLst>
            <pc:docMk/>
            <pc:sldMk cId="2226532108" sldId="2153"/>
            <ac:spMk id="18" creationId="{6D0D68B1-9DCF-46E2-87CD-C0AFC2962BA3}"/>
          </ac:spMkLst>
        </pc:spChg>
        <pc:spChg chg="add del mod">
          <ac:chgData name="Aurelien Domont" userId="6da7715ce44349b3" providerId="LiveId" clId="{2CD95218-941C-4820-B0D1-138B992882CB}" dt="2021-04-20T04:30:57.150" v="3877" actId="478"/>
          <ac:spMkLst>
            <pc:docMk/>
            <pc:sldMk cId="2226532108" sldId="2153"/>
            <ac:spMk id="19" creationId="{15EC1948-275D-44C0-9458-86FA3C6844E3}"/>
          </ac:spMkLst>
        </pc:spChg>
        <pc:spChg chg="add del mod">
          <ac:chgData name="Aurelien Domont" userId="6da7715ce44349b3" providerId="LiveId" clId="{2CD95218-941C-4820-B0D1-138B992882CB}" dt="2021-04-20T04:30:57.150" v="3877" actId="478"/>
          <ac:spMkLst>
            <pc:docMk/>
            <pc:sldMk cId="2226532108" sldId="2153"/>
            <ac:spMk id="20" creationId="{6B354AFB-F308-4228-B349-2D1DC84AF21E}"/>
          </ac:spMkLst>
        </pc:spChg>
        <pc:spChg chg="del">
          <ac:chgData name="Aurelien Domont" userId="6da7715ce44349b3" providerId="LiveId" clId="{2CD95218-941C-4820-B0D1-138B992882CB}" dt="2021-04-20T04:25:31.360" v="3502" actId="478"/>
          <ac:spMkLst>
            <pc:docMk/>
            <pc:sldMk cId="2226532108" sldId="2153"/>
            <ac:spMk id="21" creationId="{F5002797-E4EA-45B8-B820-76ECE0702817}"/>
          </ac:spMkLst>
        </pc:spChg>
        <pc:spChg chg="add del mod">
          <ac:chgData name="Aurelien Domont" userId="6da7715ce44349b3" providerId="LiveId" clId="{2CD95218-941C-4820-B0D1-138B992882CB}" dt="2021-04-20T04:30:57.150" v="3877" actId="478"/>
          <ac:spMkLst>
            <pc:docMk/>
            <pc:sldMk cId="2226532108" sldId="2153"/>
            <ac:spMk id="22" creationId="{8A683522-7E38-42A9-A7E9-240B1B8A0D40}"/>
          </ac:spMkLst>
        </pc:spChg>
        <pc:spChg chg="add del mod">
          <ac:chgData name="Aurelien Domont" userId="6da7715ce44349b3" providerId="LiveId" clId="{2CD95218-941C-4820-B0D1-138B992882CB}" dt="2021-04-20T04:30:57.150" v="3877" actId="478"/>
          <ac:spMkLst>
            <pc:docMk/>
            <pc:sldMk cId="2226532108" sldId="2153"/>
            <ac:spMk id="23" creationId="{CFACD79E-375A-4F8A-B735-7AF6F91E3AEB}"/>
          </ac:spMkLst>
        </pc:spChg>
        <pc:spChg chg="add del mod">
          <ac:chgData name="Aurelien Domont" userId="6da7715ce44349b3" providerId="LiveId" clId="{2CD95218-941C-4820-B0D1-138B992882CB}" dt="2021-04-20T04:30:57.150" v="3877" actId="478"/>
          <ac:spMkLst>
            <pc:docMk/>
            <pc:sldMk cId="2226532108" sldId="2153"/>
            <ac:spMk id="24" creationId="{76B1B5F6-0986-4414-A673-3D68DA83068E}"/>
          </ac:spMkLst>
        </pc:spChg>
        <pc:spChg chg="add del mod">
          <ac:chgData name="Aurelien Domont" userId="6da7715ce44349b3" providerId="LiveId" clId="{2CD95218-941C-4820-B0D1-138B992882CB}" dt="2021-04-20T04:30:57.150" v="3877" actId="478"/>
          <ac:spMkLst>
            <pc:docMk/>
            <pc:sldMk cId="2226532108" sldId="2153"/>
            <ac:spMk id="25" creationId="{63044252-1ED7-4418-8DD7-5BCA46E9545D}"/>
          </ac:spMkLst>
        </pc:spChg>
        <pc:spChg chg="add del mod">
          <ac:chgData name="Aurelien Domont" userId="6da7715ce44349b3" providerId="LiveId" clId="{2CD95218-941C-4820-B0D1-138B992882CB}" dt="2021-04-20T04:30:57.150" v="3877" actId="478"/>
          <ac:spMkLst>
            <pc:docMk/>
            <pc:sldMk cId="2226532108" sldId="2153"/>
            <ac:spMk id="26" creationId="{A43EE86A-4A47-401D-923C-456BC355B8DA}"/>
          </ac:spMkLst>
        </pc:spChg>
        <pc:spChg chg="add mod">
          <ac:chgData name="Aurelien Domont" userId="6da7715ce44349b3" providerId="LiveId" clId="{2CD95218-941C-4820-B0D1-138B992882CB}" dt="2021-04-20T04:30:59.897" v="3878"/>
          <ac:spMkLst>
            <pc:docMk/>
            <pc:sldMk cId="2226532108" sldId="2153"/>
            <ac:spMk id="27" creationId="{BE87449D-3234-4567-915F-980F05B8A3E1}"/>
          </ac:spMkLst>
        </pc:spChg>
        <pc:spChg chg="add mod">
          <ac:chgData name="Aurelien Domont" userId="6da7715ce44349b3" providerId="LiveId" clId="{2CD95218-941C-4820-B0D1-138B992882CB}" dt="2021-04-20T04:30:59.897" v="3878"/>
          <ac:spMkLst>
            <pc:docMk/>
            <pc:sldMk cId="2226532108" sldId="2153"/>
            <ac:spMk id="28" creationId="{B0214802-ABDE-4F5B-AC18-9EE0C5AED73D}"/>
          </ac:spMkLst>
        </pc:spChg>
        <pc:spChg chg="add mod">
          <ac:chgData name="Aurelien Domont" userId="6da7715ce44349b3" providerId="LiveId" clId="{2CD95218-941C-4820-B0D1-138B992882CB}" dt="2021-04-20T04:31:12.660" v="3884"/>
          <ac:spMkLst>
            <pc:docMk/>
            <pc:sldMk cId="2226532108" sldId="2153"/>
            <ac:spMk id="29" creationId="{04EE0F4B-C5FD-48E2-B995-42C0C5E3FF95}"/>
          </ac:spMkLst>
        </pc:spChg>
        <pc:spChg chg="add mod">
          <ac:chgData name="Aurelien Domont" userId="6da7715ce44349b3" providerId="LiveId" clId="{2CD95218-941C-4820-B0D1-138B992882CB}" dt="2021-04-20T04:30:59.897" v="3878"/>
          <ac:spMkLst>
            <pc:docMk/>
            <pc:sldMk cId="2226532108" sldId="2153"/>
            <ac:spMk id="30" creationId="{AB276962-2016-4C64-9B58-D5EFA8B098DB}"/>
          </ac:spMkLst>
        </pc:spChg>
        <pc:spChg chg="add mod">
          <ac:chgData name="Aurelien Domont" userId="6da7715ce44349b3" providerId="LiveId" clId="{2CD95218-941C-4820-B0D1-138B992882CB}" dt="2021-04-20T04:30:59.897" v="3878"/>
          <ac:spMkLst>
            <pc:docMk/>
            <pc:sldMk cId="2226532108" sldId="2153"/>
            <ac:spMk id="31" creationId="{32E441B9-647C-44E2-ABF7-8C700B50EB40}"/>
          </ac:spMkLst>
        </pc:spChg>
        <pc:spChg chg="add mod">
          <ac:chgData name="Aurelien Domont" userId="6da7715ce44349b3" providerId="LiveId" clId="{2CD95218-941C-4820-B0D1-138B992882CB}" dt="2021-04-20T04:30:59.897" v="3878"/>
          <ac:spMkLst>
            <pc:docMk/>
            <pc:sldMk cId="2226532108" sldId="2153"/>
            <ac:spMk id="32" creationId="{AA876D5D-3C5F-496A-A2A3-C7CECF06BF89}"/>
          </ac:spMkLst>
        </pc:spChg>
        <pc:spChg chg="add mod">
          <ac:chgData name="Aurelien Domont" userId="6da7715ce44349b3" providerId="LiveId" clId="{2CD95218-941C-4820-B0D1-138B992882CB}" dt="2021-04-20T04:31:20.681" v="3885"/>
          <ac:spMkLst>
            <pc:docMk/>
            <pc:sldMk cId="2226532108" sldId="2153"/>
            <ac:spMk id="33" creationId="{A7501CC5-3F4A-44E0-B2B8-6ED55A47C121}"/>
          </ac:spMkLst>
        </pc:spChg>
        <pc:spChg chg="add mod">
          <ac:chgData name="Aurelien Domont" userId="6da7715ce44349b3" providerId="LiveId" clId="{2CD95218-941C-4820-B0D1-138B992882CB}" dt="2021-04-20T04:30:59.897" v="3878"/>
          <ac:spMkLst>
            <pc:docMk/>
            <pc:sldMk cId="2226532108" sldId="2153"/>
            <ac:spMk id="34" creationId="{6B4D7915-5BA7-4C17-B2F1-780DF97B5174}"/>
          </ac:spMkLst>
        </pc:spChg>
        <pc:spChg chg="add mod">
          <ac:chgData name="Aurelien Domont" userId="6da7715ce44349b3" providerId="LiveId" clId="{2CD95218-941C-4820-B0D1-138B992882CB}" dt="2021-04-20T04:30:59.897" v="3878"/>
          <ac:spMkLst>
            <pc:docMk/>
            <pc:sldMk cId="2226532108" sldId="2153"/>
            <ac:spMk id="35" creationId="{EE299828-482C-40C5-9D51-A83AB6184A67}"/>
          </ac:spMkLst>
        </pc:spChg>
        <pc:spChg chg="add mod">
          <ac:chgData name="Aurelien Domont" userId="6da7715ce44349b3" providerId="LiveId" clId="{2CD95218-941C-4820-B0D1-138B992882CB}" dt="2021-04-20T04:30:59.897" v="3878"/>
          <ac:spMkLst>
            <pc:docMk/>
            <pc:sldMk cId="2226532108" sldId="2153"/>
            <ac:spMk id="36" creationId="{91C98F09-57BA-4745-8C0B-CE5B55E3EC2E}"/>
          </ac:spMkLst>
        </pc:spChg>
        <pc:spChg chg="add mod">
          <ac:chgData name="Aurelien Domont" userId="6da7715ce44349b3" providerId="LiveId" clId="{2CD95218-941C-4820-B0D1-138B992882CB}" dt="2021-04-20T04:46:00.228" v="4025" actId="20577"/>
          <ac:spMkLst>
            <pc:docMk/>
            <pc:sldMk cId="2226532108" sldId="2153"/>
            <ac:spMk id="37" creationId="{22049F5D-80E0-4952-8C95-093181A7EF1C}"/>
          </ac:spMkLst>
        </pc:spChg>
        <pc:spChg chg="add mod">
          <ac:chgData name="Aurelien Domont" userId="6da7715ce44349b3" providerId="LiveId" clId="{2CD95218-941C-4820-B0D1-138B992882CB}" dt="2021-04-20T04:30:59.897" v="3878"/>
          <ac:spMkLst>
            <pc:docMk/>
            <pc:sldMk cId="2226532108" sldId="2153"/>
            <ac:spMk id="38" creationId="{712FE8DE-44E0-4055-9561-4D639B2173A8}"/>
          </ac:spMkLst>
        </pc:spChg>
        <pc:picChg chg="del">
          <ac:chgData name="Aurelien Domont" userId="6da7715ce44349b3" providerId="LiveId" clId="{2CD95218-941C-4820-B0D1-138B992882CB}" dt="2021-04-20T04:25:31.360" v="3502" actId="478"/>
          <ac:picMkLst>
            <pc:docMk/>
            <pc:sldMk cId="2226532108" sldId="2153"/>
            <ac:picMk id="3" creationId="{177C207C-E9C5-4F72-BD2F-D9590E622F5E}"/>
          </ac:picMkLst>
        </pc:picChg>
        <pc:picChg chg="del">
          <ac:chgData name="Aurelien Domont" userId="6da7715ce44349b3" providerId="LiveId" clId="{2CD95218-941C-4820-B0D1-138B992882CB}" dt="2021-04-20T04:25:31.360" v="3502" actId="478"/>
          <ac:picMkLst>
            <pc:docMk/>
            <pc:sldMk cId="2226532108" sldId="2153"/>
            <ac:picMk id="4" creationId="{8BFAD7E0-FAF3-4A7F-85D7-23D126159742}"/>
          </ac:picMkLst>
        </pc:picChg>
        <pc:picChg chg="del">
          <ac:chgData name="Aurelien Domont" userId="6da7715ce44349b3" providerId="LiveId" clId="{2CD95218-941C-4820-B0D1-138B992882CB}" dt="2021-04-20T04:25:31.360" v="3502" actId="478"/>
          <ac:picMkLst>
            <pc:docMk/>
            <pc:sldMk cId="2226532108" sldId="2153"/>
            <ac:picMk id="5" creationId="{2364D466-67B2-4F3D-B207-44E6F410B178}"/>
          </ac:picMkLst>
        </pc:picChg>
        <pc:picChg chg="del">
          <ac:chgData name="Aurelien Domont" userId="6da7715ce44349b3" providerId="LiveId" clId="{2CD95218-941C-4820-B0D1-138B992882CB}" dt="2021-04-20T04:25:31.360" v="3502" actId="478"/>
          <ac:picMkLst>
            <pc:docMk/>
            <pc:sldMk cId="2226532108" sldId="2153"/>
            <ac:picMk id="8" creationId="{7AE82408-0EBB-4A84-8485-6C50815A63F2}"/>
          </ac:picMkLst>
        </pc:picChg>
        <pc:picChg chg="del">
          <ac:chgData name="Aurelien Domont" userId="6da7715ce44349b3" providerId="LiveId" clId="{2CD95218-941C-4820-B0D1-138B992882CB}" dt="2021-04-20T04:25:31.360" v="3502" actId="478"/>
          <ac:picMkLst>
            <pc:docMk/>
            <pc:sldMk cId="2226532108" sldId="2153"/>
            <ac:picMk id="9" creationId="{D861C705-A534-40EE-AF44-8BEF75E73C3A}"/>
          </ac:picMkLst>
        </pc:picChg>
      </pc:sldChg>
      <pc:sldChg chg="add del">
        <pc:chgData name="Aurelien Domont" userId="6da7715ce44349b3" providerId="LiveId" clId="{2CD95218-941C-4820-B0D1-138B992882CB}" dt="2021-04-20T04:22:44.391" v="3387" actId="47"/>
        <pc:sldMkLst>
          <pc:docMk/>
          <pc:sldMk cId="3370048552" sldId="2153"/>
        </pc:sldMkLst>
      </pc:sldChg>
      <pc:sldChg chg="add del">
        <pc:chgData name="Aurelien Domont" userId="6da7715ce44349b3" providerId="LiveId" clId="{2CD95218-941C-4820-B0D1-138B992882CB}" dt="2021-04-20T04:32:38.817" v="3887" actId="47"/>
        <pc:sldMkLst>
          <pc:docMk/>
          <pc:sldMk cId="2392205568" sldId="2154"/>
        </pc:sldMkLst>
      </pc:sldChg>
      <pc:sldChg chg="modSp add mod">
        <pc:chgData name="Aurelien Domont" userId="6da7715ce44349b3" providerId="LiveId" clId="{2CD95218-941C-4820-B0D1-138B992882CB}" dt="2021-04-20T04:44:37.466" v="3992" actId="20577"/>
        <pc:sldMkLst>
          <pc:docMk/>
          <pc:sldMk cId="3613236081" sldId="2154"/>
        </pc:sldMkLst>
        <pc:spChg chg="mod">
          <ac:chgData name="Aurelien Domont" userId="6da7715ce44349b3" providerId="LiveId" clId="{2CD95218-941C-4820-B0D1-138B992882CB}" dt="2021-04-20T04:44:37.466" v="3992" actId="20577"/>
          <ac:spMkLst>
            <pc:docMk/>
            <pc:sldMk cId="3613236081" sldId="2154"/>
            <ac:spMk id="16" creationId="{6C2BB713-9637-4B9B-938F-E9768876782A}"/>
          </ac:spMkLst>
        </pc:spChg>
      </pc:sldChg>
    </pc:docChg>
  </pc:docChgLst>
  <pc:docChgLst>
    <pc:chgData name="Aurelien Domont" userId="6da7715ce44349b3" providerId="LiveId" clId="{3449D077-A1DA-4F47-B8D9-C941F4429A9D}"/>
    <pc:docChg chg="undo custSel addSld modSld sldOrd">
      <pc:chgData name="Aurelien Domont" userId="6da7715ce44349b3" providerId="LiveId" clId="{3449D077-A1DA-4F47-B8D9-C941F4429A9D}" dt="2021-04-20T08:28:23.360" v="506" actId="20577"/>
      <pc:docMkLst>
        <pc:docMk/>
      </pc:docMkLst>
      <pc:sldChg chg="modSp mod">
        <pc:chgData name="Aurelien Domont" userId="6da7715ce44349b3" providerId="LiveId" clId="{3449D077-A1DA-4F47-B8D9-C941F4429A9D}" dt="2021-04-20T07:46:44.943" v="56" actId="20577"/>
        <pc:sldMkLst>
          <pc:docMk/>
          <pc:sldMk cId="3131901387" sldId="256"/>
        </pc:sldMkLst>
        <pc:spChg chg="mod">
          <ac:chgData name="Aurelien Domont" userId="6da7715ce44349b3" providerId="LiveId" clId="{3449D077-A1DA-4F47-B8D9-C941F4429A9D}" dt="2021-04-20T07:46:44.943" v="56" actId="20577"/>
          <ac:spMkLst>
            <pc:docMk/>
            <pc:sldMk cId="3131901387" sldId="256"/>
            <ac:spMk id="2" creationId="{5261080C-C60C-4746-B6B1-A9A4FFA86785}"/>
          </ac:spMkLst>
        </pc:spChg>
      </pc:sldChg>
      <pc:sldChg chg="addSp delSp modSp mod">
        <pc:chgData name="Aurelien Domont" userId="6da7715ce44349b3" providerId="LiveId" clId="{3449D077-A1DA-4F47-B8D9-C941F4429A9D}" dt="2021-04-20T08:00:12.191" v="402" actId="20577"/>
        <pc:sldMkLst>
          <pc:docMk/>
          <pc:sldMk cId="1675062303" sldId="1929"/>
        </pc:sldMkLst>
        <pc:spChg chg="add del mod">
          <ac:chgData name="Aurelien Domont" userId="6da7715ce44349b3" providerId="LiveId" clId="{3449D077-A1DA-4F47-B8D9-C941F4429A9D}" dt="2021-04-20T07:59:30.716" v="395" actId="478"/>
          <ac:spMkLst>
            <pc:docMk/>
            <pc:sldMk cId="1675062303" sldId="1929"/>
            <ac:spMk id="4" creationId="{9B18F099-1742-4AA5-ADD8-4E5419A4588D}"/>
          </ac:spMkLst>
        </pc:spChg>
        <pc:spChg chg="add del mod">
          <ac:chgData name="Aurelien Domont" userId="6da7715ce44349b3" providerId="LiveId" clId="{3449D077-A1DA-4F47-B8D9-C941F4429A9D}" dt="2021-04-20T07:59:38.980" v="397" actId="14100"/>
          <ac:spMkLst>
            <pc:docMk/>
            <pc:sldMk cId="1675062303" sldId="1929"/>
            <ac:spMk id="16" creationId="{6C2BB713-9637-4B9B-938F-E9768876782A}"/>
          </ac:spMkLst>
        </pc:spChg>
        <pc:spChg chg="mod">
          <ac:chgData name="Aurelien Domont" userId="6da7715ce44349b3" providerId="LiveId" clId="{3449D077-A1DA-4F47-B8D9-C941F4429A9D}" dt="2021-04-20T08:00:12.191" v="402" actId="20577"/>
          <ac:spMkLst>
            <pc:docMk/>
            <pc:sldMk cId="1675062303" sldId="1929"/>
            <ac:spMk id="51" creationId="{0FA74DED-0524-47B0-A2AB-F8328467651E}"/>
          </ac:spMkLst>
        </pc:spChg>
      </pc:sldChg>
      <pc:sldChg chg="modSp mod">
        <pc:chgData name="Aurelien Domont" userId="6da7715ce44349b3" providerId="LiveId" clId="{3449D077-A1DA-4F47-B8D9-C941F4429A9D}" dt="2021-04-20T07:48:50.305" v="126" actId="20577"/>
        <pc:sldMkLst>
          <pc:docMk/>
          <pc:sldMk cId="471658671" sldId="1930"/>
        </pc:sldMkLst>
        <pc:spChg chg="mod">
          <ac:chgData name="Aurelien Domont" userId="6da7715ce44349b3" providerId="LiveId" clId="{3449D077-A1DA-4F47-B8D9-C941F4429A9D}" dt="2021-04-20T07:48:50.305" v="126" actId="20577"/>
          <ac:spMkLst>
            <pc:docMk/>
            <pc:sldMk cId="471658671" sldId="1930"/>
            <ac:spMk id="16" creationId="{6C2BB713-9637-4B9B-938F-E9768876782A}"/>
          </ac:spMkLst>
        </pc:spChg>
      </pc:sldChg>
      <pc:sldChg chg="modSp mod">
        <pc:chgData name="Aurelien Domont" userId="6da7715ce44349b3" providerId="LiveId" clId="{3449D077-A1DA-4F47-B8D9-C941F4429A9D}" dt="2021-04-20T07:57:19.757" v="314" actId="313"/>
        <pc:sldMkLst>
          <pc:docMk/>
          <pc:sldMk cId="423301223" sldId="2148"/>
        </pc:sldMkLst>
        <pc:graphicFrameChg chg="mod modGraphic">
          <ac:chgData name="Aurelien Domont" userId="6da7715ce44349b3" providerId="LiveId" clId="{3449D077-A1DA-4F47-B8D9-C941F4429A9D}" dt="2021-04-20T07:57:19.757" v="314" actId="313"/>
          <ac:graphicFrameMkLst>
            <pc:docMk/>
            <pc:sldMk cId="423301223" sldId="2148"/>
            <ac:graphicFrameMk id="6" creationId="{5C5525D8-81F1-4A24-A0BB-F27EAE382C06}"/>
          </ac:graphicFrameMkLst>
        </pc:graphicFrameChg>
      </pc:sldChg>
      <pc:sldChg chg="modSp mod">
        <pc:chgData name="Aurelien Domont" userId="6da7715ce44349b3" providerId="LiveId" clId="{3449D077-A1DA-4F47-B8D9-C941F4429A9D}" dt="2021-04-20T08:28:23.360" v="506" actId="20577"/>
        <pc:sldMkLst>
          <pc:docMk/>
          <pc:sldMk cId="1324642353" sldId="2152"/>
        </pc:sldMkLst>
        <pc:spChg chg="mod">
          <ac:chgData name="Aurelien Domont" userId="6da7715ce44349b3" providerId="LiveId" clId="{3449D077-A1DA-4F47-B8D9-C941F4429A9D}" dt="2021-04-20T07:50:51.268" v="142" actId="20577"/>
          <ac:spMkLst>
            <pc:docMk/>
            <pc:sldMk cId="1324642353" sldId="2152"/>
            <ac:spMk id="6" creationId="{C3CDFF47-2BDF-481B-8C77-A2EE049FF74B}"/>
          </ac:spMkLst>
        </pc:spChg>
        <pc:spChg chg="mod">
          <ac:chgData name="Aurelien Domont" userId="6da7715ce44349b3" providerId="LiveId" clId="{3449D077-A1DA-4F47-B8D9-C941F4429A9D}" dt="2021-04-20T07:50:45.641" v="140" actId="20577"/>
          <ac:spMkLst>
            <pc:docMk/>
            <pc:sldMk cId="1324642353" sldId="2152"/>
            <ac:spMk id="16" creationId="{6C2BB713-9637-4B9B-938F-E9768876782A}"/>
          </ac:spMkLst>
        </pc:spChg>
        <pc:spChg chg="mod">
          <ac:chgData name="Aurelien Domont" userId="6da7715ce44349b3" providerId="LiveId" clId="{3449D077-A1DA-4F47-B8D9-C941F4429A9D}" dt="2021-04-20T08:28:23.360" v="506" actId="20577"/>
          <ac:spMkLst>
            <pc:docMk/>
            <pc:sldMk cId="1324642353" sldId="2152"/>
            <ac:spMk id="18" creationId="{6D0D68B1-9DCF-46E2-87CD-C0AFC2962BA3}"/>
          </ac:spMkLst>
        </pc:spChg>
      </pc:sldChg>
      <pc:sldChg chg="modSp mod">
        <pc:chgData name="Aurelien Domont" userId="6da7715ce44349b3" providerId="LiveId" clId="{3449D077-A1DA-4F47-B8D9-C941F4429A9D}" dt="2021-04-20T07:48:15.856" v="108" actId="20577"/>
        <pc:sldMkLst>
          <pc:docMk/>
          <pc:sldMk cId="2226532108" sldId="2153"/>
        </pc:sldMkLst>
        <pc:spChg chg="mod">
          <ac:chgData name="Aurelien Domont" userId="6da7715ce44349b3" providerId="LiveId" clId="{3449D077-A1DA-4F47-B8D9-C941F4429A9D}" dt="2021-04-20T07:48:15.856" v="108" actId="20577"/>
          <ac:spMkLst>
            <pc:docMk/>
            <pc:sldMk cId="2226532108" sldId="2153"/>
            <ac:spMk id="33" creationId="{A7501CC5-3F4A-44E0-B2B8-6ED55A47C121}"/>
          </ac:spMkLst>
        </pc:spChg>
        <pc:spChg chg="mod">
          <ac:chgData name="Aurelien Domont" userId="6da7715ce44349b3" providerId="LiveId" clId="{3449D077-A1DA-4F47-B8D9-C941F4429A9D}" dt="2021-04-20T07:48:03.739" v="105" actId="20577"/>
          <ac:spMkLst>
            <pc:docMk/>
            <pc:sldMk cId="2226532108" sldId="2153"/>
            <ac:spMk id="37" creationId="{22049F5D-80E0-4952-8C95-093181A7EF1C}"/>
          </ac:spMkLst>
        </pc:spChg>
      </pc:sldChg>
      <pc:sldChg chg="modSp mod">
        <pc:chgData name="Aurelien Domont" userId="6da7715ce44349b3" providerId="LiveId" clId="{3449D077-A1DA-4F47-B8D9-C941F4429A9D}" dt="2021-04-20T07:58:59.334" v="393" actId="20577"/>
        <pc:sldMkLst>
          <pc:docMk/>
          <pc:sldMk cId="3613236081" sldId="2154"/>
        </pc:sldMkLst>
        <pc:spChg chg="mod">
          <ac:chgData name="Aurelien Domont" userId="6da7715ce44349b3" providerId="LiveId" clId="{3449D077-A1DA-4F47-B8D9-C941F4429A9D}" dt="2021-04-20T07:58:59.334" v="393" actId="20577"/>
          <ac:spMkLst>
            <pc:docMk/>
            <pc:sldMk cId="3613236081" sldId="2154"/>
            <ac:spMk id="16" creationId="{6C2BB713-9637-4B9B-938F-E9768876782A}"/>
          </ac:spMkLst>
        </pc:spChg>
      </pc:sldChg>
      <pc:sldChg chg="addSp delSp modSp add mod ord">
        <pc:chgData name="Aurelien Domont" userId="6da7715ce44349b3" providerId="LiveId" clId="{3449D077-A1DA-4F47-B8D9-C941F4429A9D}" dt="2021-04-20T08:08:19.839" v="478"/>
        <pc:sldMkLst>
          <pc:docMk/>
          <pc:sldMk cId="3175191540" sldId="2155"/>
        </pc:sldMkLst>
        <pc:spChg chg="del mod">
          <ac:chgData name="Aurelien Domont" userId="6da7715ce44349b3" providerId="LiveId" clId="{3449D077-A1DA-4F47-B8D9-C941F4429A9D}" dt="2021-04-20T08:00:06.358" v="400" actId="478"/>
          <ac:spMkLst>
            <pc:docMk/>
            <pc:sldMk cId="3175191540" sldId="2155"/>
            <ac:spMk id="32" creationId="{77C8B9FE-5149-44A2-9C03-07D804D83E7E}"/>
          </ac:spMkLst>
        </pc:spChg>
        <pc:spChg chg="mod">
          <ac:chgData name="Aurelien Domont" userId="6da7715ce44349b3" providerId="LiveId" clId="{3449D077-A1DA-4F47-B8D9-C941F4429A9D}" dt="2021-04-20T08:04:05.888" v="419" actId="20577"/>
          <ac:spMkLst>
            <pc:docMk/>
            <pc:sldMk cId="3175191540" sldId="2155"/>
            <ac:spMk id="50" creationId="{021A7501-6AAB-40F6-B45B-D5EE90117B55}"/>
          </ac:spMkLst>
        </pc:spChg>
        <pc:spChg chg="mod">
          <ac:chgData name="Aurelien Domont" userId="6da7715ce44349b3" providerId="LiveId" clId="{3449D077-A1DA-4F47-B8D9-C941F4429A9D}" dt="2021-04-20T08:00:18.881" v="403" actId="20577"/>
          <ac:spMkLst>
            <pc:docMk/>
            <pc:sldMk cId="3175191540" sldId="2155"/>
            <ac:spMk id="51" creationId="{0FA74DED-0524-47B0-A2AB-F8328467651E}"/>
          </ac:spMkLst>
        </pc:spChg>
        <pc:spChg chg="add mod">
          <ac:chgData name="Aurelien Domont" userId="6da7715ce44349b3" providerId="LiveId" clId="{3449D077-A1DA-4F47-B8D9-C941F4429A9D}" dt="2021-04-20T08:07:49.521" v="474" actId="20577"/>
          <ac:spMkLst>
            <pc:docMk/>
            <pc:sldMk cId="3175191540" sldId="2155"/>
            <ac:spMk id="58" creationId="{E7835114-5805-4825-95F0-387BA34A2F04}"/>
          </ac:spMkLst>
        </pc:spChg>
        <pc:spChg chg="add mod">
          <ac:chgData name="Aurelien Domont" userId="6da7715ce44349b3" providerId="LiveId" clId="{3449D077-A1DA-4F47-B8D9-C941F4429A9D}" dt="2021-04-20T08:08:00.854" v="475" actId="1076"/>
          <ac:spMkLst>
            <pc:docMk/>
            <pc:sldMk cId="3175191540" sldId="2155"/>
            <ac:spMk id="59" creationId="{EDA9BC40-59BA-4726-8DEB-1FF6CF517B5E}"/>
          </ac:spMkLst>
        </pc:spChg>
        <pc:spChg chg="add mod">
          <ac:chgData name="Aurelien Domont" userId="6da7715ce44349b3" providerId="LiveId" clId="{3449D077-A1DA-4F47-B8D9-C941F4429A9D}" dt="2021-04-20T08:08:02.824" v="476" actId="1076"/>
          <ac:spMkLst>
            <pc:docMk/>
            <pc:sldMk cId="3175191540" sldId="2155"/>
            <ac:spMk id="60" creationId="{1BBCD685-4F11-4A6A-A314-ED3EED32F807}"/>
          </ac:spMkLst>
        </pc:spChg>
        <pc:spChg chg="add mod">
          <ac:chgData name="Aurelien Domont" userId="6da7715ce44349b3" providerId="LiveId" clId="{3449D077-A1DA-4F47-B8D9-C941F4429A9D}" dt="2021-04-20T08:06:24.558" v="448" actId="20577"/>
          <ac:spMkLst>
            <pc:docMk/>
            <pc:sldMk cId="3175191540" sldId="2155"/>
            <ac:spMk id="61" creationId="{90562318-8F22-4950-AAFD-8BD4A7FD385A}"/>
          </ac:spMkLst>
        </pc:spChg>
        <pc:spChg chg="del mod">
          <ac:chgData name="Aurelien Domont" userId="6da7715ce44349b3" providerId="LiveId" clId="{3449D077-A1DA-4F47-B8D9-C941F4429A9D}" dt="2021-04-20T08:00:06.358" v="400" actId="478"/>
          <ac:spMkLst>
            <pc:docMk/>
            <pc:sldMk cId="3175191540" sldId="2155"/>
            <ac:spMk id="113" creationId="{A25F7426-C83A-4996-8F55-11E09AB514FD}"/>
          </ac:spMkLst>
        </pc:spChg>
        <pc:spChg chg="del mod">
          <ac:chgData name="Aurelien Domont" userId="6da7715ce44349b3" providerId="LiveId" clId="{3449D077-A1DA-4F47-B8D9-C941F4429A9D}" dt="2021-04-20T08:00:06.358" v="400" actId="478"/>
          <ac:spMkLst>
            <pc:docMk/>
            <pc:sldMk cId="3175191540" sldId="2155"/>
            <ac:spMk id="114" creationId="{617136ED-CBDB-4E11-8547-F8973B50CB97}"/>
          </ac:spMkLst>
        </pc:spChg>
        <pc:spChg chg="del mod">
          <ac:chgData name="Aurelien Domont" userId="6da7715ce44349b3" providerId="LiveId" clId="{3449D077-A1DA-4F47-B8D9-C941F4429A9D}" dt="2021-04-20T08:00:06.358" v="400" actId="478"/>
          <ac:spMkLst>
            <pc:docMk/>
            <pc:sldMk cId="3175191540" sldId="2155"/>
            <ac:spMk id="115" creationId="{9EE5EBFC-A934-414B-975C-CE01B940B6CD}"/>
          </ac:spMkLst>
        </pc:spChg>
        <pc:spChg chg="del mod">
          <ac:chgData name="Aurelien Domont" userId="6da7715ce44349b3" providerId="LiveId" clId="{3449D077-A1DA-4F47-B8D9-C941F4429A9D}" dt="2021-04-20T08:00:06.358" v="400" actId="478"/>
          <ac:spMkLst>
            <pc:docMk/>
            <pc:sldMk cId="3175191540" sldId="2155"/>
            <ac:spMk id="116" creationId="{F68210B4-67B6-4786-91C0-6D58CED7FF49}"/>
          </ac:spMkLst>
        </pc:spChg>
        <pc:spChg chg="del mod">
          <ac:chgData name="Aurelien Domont" userId="6da7715ce44349b3" providerId="LiveId" clId="{3449D077-A1DA-4F47-B8D9-C941F4429A9D}" dt="2021-04-20T08:00:06.358" v="400" actId="478"/>
          <ac:spMkLst>
            <pc:docMk/>
            <pc:sldMk cId="3175191540" sldId="2155"/>
            <ac:spMk id="117" creationId="{091F03B6-C2C5-4F9A-B53A-966DD031D465}"/>
          </ac:spMkLst>
        </pc:spChg>
        <pc:spChg chg="del mod">
          <ac:chgData name="Aurelien Domont" userId="6da7715ce44349b3" providerId="LiveId" clId="{3449D077-A1DA-4F47-B8D9-C941F4429A9D}" dt="2021-04-20T08:00:06.358" v="400" actId="478"/>
          <ac:spMkLst>
            <pc:docMk/>
            <pc:sldMk cId="3175191540" sldId="2155"/>
            <ac:spMk id="118" creationId="{94542872-64CB-48E3-87C2-10EBD587FB69}"/>
          </ac:spMkLst>
        </pc:spChg>
        <pc:spChg chg="del">
          <ac:chgData name="Aurelien Domont" userId="6da7715ce44349b3" providerId="LiveId" clId="{3449D077-A1DA-4F47-B8D9-C941F4429A9D}" dt="2021-04-20T08:00:06.358" v="400" actId="478"/>
          <ac:spMkLst>
            <pc:docMk/>
            <pc:sldMk cId="3175191540" sldId="2155"/>
            <ac:spMk id="119" creationId="{0C540759-0E6E-46EA-AC26-6EB59BE2DF5D}"/>
          </ac:spMkLst>
        </pc:spChg>
        <pc:spChg chg="del">
          <ac:chgData name="Aurelien Domont" userId="6da7715ce44349b3" providerId="LiveId" clId="{3449D077-A1DA-4F47-B8D9-C941F4429A9D}" dt="2021-04-20T08:00:06.358" v="400" actId="478"/>
          <ac:spMkLst>
            <pc:docMk/>
            <pc:sldMk cId="3175191540" sldId="2155"/>
            <ac:spMk id="120" creationId="{DE186239-6A2C-45CC-95C3-B4F22178B13C}"/>
          </ac:spMkLst>
        </pc:spChg>
        <pc:spChg chg="del">
          <ac:chgData name="Aurelien Domont" userId="6da7715ce44349b3" providerId="LiveId" clId="{3449D077-A1DA-4F47-B8D9-C941F4429A9D}" dt="2021-04-20T08:00:06.358" v="400" actId="478"/>
          <ac:spMkLst>
            <pc:docMk/>
            <pc:sldMk cId="3175191540" sldId="2155"/>
            <ac:spMk id="134" creationId="{9F7B0102-BF60-409B-805B-AF8E279D995D}"/>
          </ac:spMkLst>
        </pc:spChg>
        <pc:spChg chg="del">
          <ac:chgData name="Aurelien Domont" userId="6da7715ce44349b3" providerId="LiveId" clId="{3449D077-A1DA-4F47-B8D9-C941F4429A9D}" dt="2021-04-20T08:00:06.358" v="400" actId="478"/>
          <ac:spMkLst>
            <pc:docMk/>
            <pc:sldMk cId="3175191540" sldId="2155"/>
            <ac:spMk id="135" creationId="{57207B5B-D1F3-4165-913A-654F2037E3F7}"/>
          </ac:spMkLst>
        </pc:spChg>
        <pc:spChg chg="del">
          <ac:chgData name="Aurelien Domont" userId="6da7715ce44349b3" providerId="LiveId" clId="{3449D077-A1DA-4F47-B8D9-C941F4429A9D}" dt="2021-04-20T08:00:06.358" v="400" actId="478"/>
          <ac:spMkLst>
            <pc:docMk/>
            <pc:sldMk cId="3175191540" sldId="2155"/>
            <ac:spMk id="136" creationId="{DD11B4CC-8375-4E46-9695-8945699A76EB}"/>
          </ac:spMkLst>
        </pc:spChg>
        <pc:spChg chg="del">
          <ac:chgData name="Aurelien Domont" userId="6da7715ce44349b3" providerId="LiveId" clId="{3449D077-A1DA-4F47-B8D9-C941F4429A9D}" dt="2021-04-20T08:00:06.358" v="400" actId="478"/>
          <ac:spMkLst>
            <pc:docMk/>
            <pc:sldMk cId="3175191540" sldId="2155"/>
            <ac:spMk id="137" creationId="{09F2F1FD-0DD4-4BC9-A134-FA6F6B3532F5}"/>
          </ac:spMkLst>
        </pc:spChg>
        <pc:spChg chg="del">
          <ac:chgData name="Aurelien Domont" userId="6da7715ce44349b3" providerId="LiveId" clId="{3449D077-A1DA-4F47-B8D9-C941F4429A9D}" dt="2021-04-20T08:00:06.358" v="400" actId="478"/>
          <ac:spMkLst>
            <pc:docMk/>
            <pc:sldMk cId="3175191540" sldId="2155"/>
            <ac:spMk id="138" creationId="{CB843DD2-5ED4-4834-BCF3-CF9547B98AD8}"/>
          </ac:spMkLst>
        </pc:spChg>
        <pc:spChg chg="del">
          <ac:chgData name="Aurelien Domont" userId="6da7715ce44349b3" providerId="LiveId" clId="{3449D077-A1DA-4F47-B8D9-C941F4429A9D}" dt="2021-04-20T08:00:06.358" v="400" actId="478"/>
          <ac:spMkLst>
            <pc:docMk/>
            <pc:sldMk cId="3175191540" sldId="2155"/>
            <ac:spMk id="139" creationId="{878081A9-CE92-4D3B-826A-E4691FA892B6}"/>
          </ac:spMkLst>
        </pc:spChg>
        <pc:spChg chg="del">
          <ac:chgData name="Aurelien Domont" userId="6da7715ce44349b3" providerId="LiveId" clId="{3449D077-A1DA-4F47-B8D9-C941F4429A9D}" dt="2021-04-20T08:00:06.358" v="400" actId="478"/>
          <ac:spMkLst>
            <pc:docMk/>
            <pc:sldMk cId="3175191540" sldId="2155"/>
            <ac:spMk id="140" creationId="{FC3954BD-DE92-41AD-B346-CC4FDE7DA8DD}"/>
          </ac:spMkLst>
        </pc:spChg>
        <pc:spChg chg="del">
          <ac:chgData name="Aurelien Domont" userId="6da7715ce44349b3" providerId="LiveId" clId="{3449D077-A1DA-4F47-B8D9-C941F4429A9D}" dt="2021-04-20T08:00:06.358" v="400" actId="478"/>
          <ac:spMkLst>
            <pc:docMk/>
            <pc:sldMk cId="3175191540" sldId="2155"/>
            <ac:spMk id="141" creationId="{40267ADE-78B5-4E46-9230-EEC44DCF8915}"/>
          </ac:spMkLst>
        </pc:spChg>
        <pc:spChg chg="del">
          <ac:chgData name="Aurelien Domont" userId="6da7715ce44349b3" providerId="LiveId" clId="{3449D077-A1DA-4F47-B8D9-C941F4429A9D}" dt="2021-04-20T08:00:06.358" v="400" actId="478"/>
          <ac:spMkLst>
            <pc:docMk/>
            <pc:sldMk cId="3175191540" sldId="2155"/>
            <ac:spMk id="142" creationId="{97AC1EF8-79EC-4B9C-B7F5-6A01790A6CFC}"/>
          </ac:spMkLst>
        </pc:spChg>
        <pc:spChg chg="del">
          <ac:chgData name="Aurelien Domont" userId="6da7715ce44349b3" providerId="LiveId" clId="{3449D077-A1DA-4F47-B8D9-C941F4429A9D}" dt="2021-04-20T08:00:08.617" v="401" actId="478"/>
          <ac:spMkLst>
            <pc:docMk/>
            <pc:sldMk cId="3175191540" sldId="2155"/>
            <ac:spMk id="143" creationId="{CBA393DC-374A-45EC-9D5C-DD66DBC27679}"/>
          </ac:spMkLst>
        </pc:spChg>
        <pc:spChg chg="del">
          <ac:chgData name="Aurelien Domont" userId="6da7715ce44349b3" providerId="LiveId" clId="{3449D077-A1DA-4F47-B8D9-C941F4429A9D}" dt="2021-04-20T08:00:08.617" v="401" actId="478"/>
          <ac:spMkLst>
            <pc:docMk/>
            <pc:sldMk cId="3175191540" sldId="2155"/>
            <ac:spMk id="144" creationId="{24EBFD13-D8FA-4BB2-8E82-E3DC84588609}"/>
          </ac:spMkLst>
        </pc:spChg>
        <pc:spChg chg="del">
          <ac:chgData name="Aurelien Domont" userId="6da7715ce44349b3" providerId="LiveId" clId="{3449D077-A1DA-4F47-B8D9-C941F4429A9D}" dt="2021-04-20T08:00:08.617" v="401" actId="478"/>
          <ac:spMkLst>
            <pc:docMk/>
            <pc:sldMk cId="3175191540" sldId="2155"/>
            <ac:spMk id="145" creationId="{B0B0B941-236C-404F-B06F-D297AE66A220}"/>
          </ac:spMkLst>
        </pc:spChg>
        <pc:spChg chg="del">
          <ac:chgData name="Aurelien Domont" userId="6da7715ce44349b3" providerId="LiveId" clId="{3449D077-A1DA-4F47-B8D9-C941F4429A9D}" dt="2021-04-20T08:00:08.617" v="401" actId="478"/>
          <ac:spMkLst>
            <pc:docMk/>
            <pc:sldMk cId="3175191540" sldId="2155"/>
            <ac:spMk id="146" creationId="{1810207E-BE89-4502-AE0B-98BF06074BB0}"/>
          </ac:spMkLst>
        </pc:spChg>
        <pc:spChg chg="del">
          <ac:chgData name="Aurelien Domont" userId="6da7715ce44349b3" providerId="LiveId" clId="{3449D077-A1DA-4F47-B8D9-C941F4429A9D}" dt="2021-04-20T08:00:08.617" v="401" actId="478"/>
          <ac:spMkLst>
            <pc:docMk/>
            <pc:sldMk cId="3175191540" sldId="2155"/>
            <ac:spMk id="147" creationId="{EC86A18B-42E0-4F54-B91E-128062C4905F}"/>
          </ac:spMkLst>
        </pc:spChg>
        <pc:spChg chg="del">
          <ac:chgData name="Aurelien Domont" userId="6da7715ce44349b3" providerId="LiveId" clId="{3449D077-A1DA-4F47-B8D9-C941F4429A9D}" dt="2021-04-20T08:00:08.617" v="401" actId="478"/>
          <ac:spMkLst>
            <pc:docMk/>
            <pc:sldMk cId="3175191540" sldId="2155"/>
            <ac:spMk id="148" creationId="{72CFCA3A-6DEC-4BC5-A658-FBBDECF23617}"/>
          </ac:spMkLst>
        </pc:spChg>
        <pc:spChg chg="del">
          <ac:chgData name="Aurelien Domont" userId="6da7715ce44349b3" providerId="LiveId" clId="{3449D077-A1DA-4F47-B8D9-C941F4429A9D}" dt="2021-04-20T08:00:08.617" v="401" actId="478"/>
          <ac:spMkLst>
            <pc:docMk/>
            <pc:sldMk cId="3175191540" sldId="2155"/>
            <ac:spMk id="149" creationId="{E90DD80E-E38A-4625-91BD-7FDC9312A827}"/>
          </ac:spMkLst>
        </pc:spChg>
        <pc:spChg chg="del">
          <ac:chgData name="Aurelien Domont" userId="6da7715ce44349b3" providerId="LiveId" clId="{3449D077-A1DA-4F47-B8D9-C941F4429A9D}" dt="2021-04-20T08:00:08.617" v="401" actId="478"/>
          <ac:spMkLst>
            <pc:docMk/>
            <pc:sldMk cId="3175191540" sldId="2155"/>
            <ac:spMk id="150" creationId="{1FAFB220-21F0-4588-9224-442E3063EE2A}"/>
          </ac:spMkLst>
        </pc:spChg>
        <pc:spChg chg="del">
          <ac:chgData name="Aurelien Domont" userId="6da7715ce44349b3" providerId="LiveId" clId="{3449D077-A1DA-4F47-B8D9-C941F4429A9D}" dt="2021-04-20T08:00:08.617" v="401" actId="478"/>
          <ac:spMkLst>
            <pc:docMk/>
            <pc:sldMk cId="3175191540" sldId="2155"/>
            <ac:spMk id="151" creationId="{53326BF5-6112-4994-A9DD-3DB8FBAC030B}"/>
          </ac:spMkLst>
        </pc:spChg>
        <pc:spChg chg="del">
          <ac:chgData name="Aurelien Domont" userId="6da7715ce44349b3" providerId="LiveId" clId="{3449D077-A1DA-4F47-B8D9-C941F4429A9D}" dt="2021-04-20T08:00:08.617" v="401" actId="478"/>
          <ac:spMkLst>
            <pc:docMk/>
            <pc:sldMk cId="3175191540" sldId="2155"/>
            <ac:spMk id="152" creationId="{8D2224F5-2A34-495C-9078-71D32877DE4F}"/>
          </ac:spMkLst>
        </pc:spChg>
        <pc:spChg chg="del">
          <ac:chgData name="Aurelien Domont" userId="6da7715ce44349b3" providerId="LiveId" clId="{3449D077-A1DA-4F47-B8D9-C941F4429A9D}" dt="2021-04-20T08:00:08.617" v="401" actId="478"/>
          <ac:spMkLst>
            <pc:docMk/>
            <pc:sldMk cId="3175191540" sldId="2155"/>
            <ac:spMk id="153" creationId="{B75A2AEF-BD49-4E7B-8988-854976323B81}"/>
          </ac:spMkLst>
        </pc:spChg>
        <pc:spChg chg="del">
          <ac:chgData name="Aurelien Domont" userId="6da7715ce44349b3" providerId="LiveId" clId="{3449D077-A1DA-4F47-B8D9-C941F4429A9D}" dt="2021-04-20T08:00:08.617" v="401" actId="478"/>
          <ac:spMkLst>
            <pc:docMk/>
            <pc:sldMk cId="3175191540" sldId="2155"/>
            <ac:spMk id="154" creationId="{3577CCEB-F3AA-475A-9D67-8A938EF2F7EE}"/>
          </ac:spMkLst>
        </pc:spChg>
        <pc:spChg chg="del">
          <ac:chgData name="Aurelien Domont" userId="6da7715ce44349b3" providerId="LiveId" clId="{3449D077-A1DA-4F47-B8D9-C941F4429A9D}" dt="2021-04-20T08:00:08.617" v="401" actId="478"/>
          <ac:spMkLst>
            <pc:docMk/>
            <pc:sldMk cId="3175191540" sldId="2155"/>
            <ac:spMk id="155" creationId="{A32C28A0-64C1-4752-9999-EDD317702AEB}"/>
          </ac:spMkLst>
        </pc:spChg>
        <pc:spChg chg="del">
          <ac:chgData name="Aurelien Domont" userId="6da7715ce44349b3" providerId="LiveId" clId="{3449D077-A1DA-4F47-B8D9-C941F4429A9D}" dt="2021-04-20T08:00:08.617" v="401" actId="478"/>
          <ac:spMkLst>
            <pc:docMk/>
            <pc:sldMk cId="3175191540" sldId="2155"/>
            <ac:spMk id="156" creationId="{2AD97465-8C80-44B2-8709-053CF992D6E3}"/>
          </ac:spMkLst>
        </pc:spChg>
        <pc:spChg chg="del">
          <ac:chgData name="Aurelien Domont" userId="6da7715ce44349b3" providerId="LiveId" clId="{3449D077-A1DA-4F47-B8D9-C941F4429A9D}" dt="2021-04-20T08:00:08.617" v="401" actId="478"/>
          <ac:spMkLst>
            <pc:docMk/>
            <pc:sldMk cId="3175191540" sldId="2155"/>
            <ac:spMk id="157" creationId="{87768643-96E8-4D4F-8897-7C869705224A}"/>
          </ac:spMkLst>
        </pc:spChg>
        <pc:spChg chg="del">
          <ac:chgData name="Aurelien Domont" userId="6da7715ce44349b3" providerId="LiveId" clId="{3449D077-A1DA-4F47-B8D9-C941F4429A9D}" dt="2021-04-20T08:00:08.617" v="401" actId="478"/>
          <ac:spMkLst>
            <pc:docMk/>
            <pc:sldMk cId="3175191540" sldId="2155"/>
            <ac:spMk id="158" creationId="{D12D99E7-54F3-4DDA-9B48-F445C9AA0126}"/>
          </ac:spMkLst>
        </pc:spChg>
        <pc:spChg chg="del">
          <ac:chgData name="Aurelien Domont" userId="6da7715ce44349b3" providerId="LiveId" clId="{3449D077-A1DA-4F47-B8D9-C941F4429A9D}" dt="2021-04-20T08:00:08.617" v="401" actId="478"/>
          <ac:spMkLst>
            <pc:docMk/>
            <pc:sldMk cId="3175191540" sldId="2155"/>
            <ac:spMk id="159" creationId="{9854AE39-DA0B-4240-BF0E-47BC08F2A541}"/>
          </ac:spMkLst>
        </pc:spChg>
        <pc:spChg chg="del">
          <ac:chgData name="Aurelien Domont" userId="6da7715ce44349b3" providerId="LiveId" clId="{3449D077-A1DA-4F47-B8D9-C941F4429A9D}" dt="2021-04-20T08:00:08.617" v="401" actId="478"/>
          <ac:spMkLst>
            <pc:docMk/>
            <pc:sldMk cId="3175191540" sldId="2155"/>
            <ac:spMk id="160" creationId="{2BF676F8-D343-4096-99EC-4ADA96C4F8D2}"/>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4/20/2021</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4/20/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a:t>
            </a:fld>
            <a:endParaRPr lang="en-US" dirty="0"/>
          </a:p>
        </p:txBody>
      </p:sp>
    </p:spTree>
    <p:extLst>
      <p:ext uri="{BB962C8B-B14F-4D97-AF65-F5344CB8AC3E}">
        <p14:creationId xmlns:p14="http://schemas.microsoft.com/office/powerpoint/2010/main" val="42841422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F61EA0F-A667-4B49-8422-0062BC55E249}" type="slidenum">
              <a:rPr lang="en-US" smtClean="0"/>
              <a:t>6</a:t>
            </a:fld>
            <a:endParaRPr lang="en-US" dirty="0"/>
          </a:p>
        </p:txBody>
      </p:sp>
    </p:spTree>
    <p:extLst>
      <p:ext uri="{BB962C8B-B14F-4D97-AF65-F5344CB8AC3E}">
        <p14:creationId xmlns:p14="http://schemas.microsoft.com/office/powerpoint/2010/main" val="30431343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F61EA0F-A667-4B49-8422-0062BC55E249}" type="slidenum">
              <a:rPr lang="en-US" smtClean="0"/>
              <a:t>7</a:t>
            </a:fld>
            <a:endParaRPr lang="en-US" dirty="0"/>
          </a:p>
        </p:txBody>
      </p:sp>
    </p:spTree>
    <p:extLst>
      <p:ext uri="{BB962C8B-B14F-4D97-AF65-F5344CB8AC3E}">
        <p14:creationId xmlns:p14="http://schemas.microsoft.com/office/powerpoint/2010/main" val="3671570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1</a:t>
            </a:fld>
            <a:endParaRPr lang="en-US" dirty="0"/>
          </a:p>
        </p:txBody>
      </p:sp>
    </p:spTree>
    <p:extLst>
      <p:ext uri="{BB962C8B-B14F-4D97-AF65-F5344CB8AC3E}">
        <p14:creationId xmlns:p14="http://schemas.microsoft.com/office/powerpoint/2010/main" val="12988929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2</a:t>
            </a:fld>
            <a:endParaRPr lang="en-US" dirty="0"/>
          </a:p>
        </p:txBody>
      </p:sp>
    </p:spTree>
    <p:extLst>
      <p:ext uri="{BB962C8B-B14F-4D97-AF65-F5344CB8AC3E}">
        <p14:creationId xmlns:p14="http://schemas.microsoft.com/office/powerpoint/2010/main" val="26505048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3</a:t>
            </a:fld>
            <a:endParaRPr lang="en-US" dirty="0"/>
          </a:p>
        </p:txBody>
      </p:sp>
    </p:spTree>
    <p:extLst>
      <p:ext uri="{BB962C8B-B14F-4D97-AF65-F5344CB8AC3E}">
        <p14:creationId xmlns:p14="http://schemas.microsoft.com/office/powerpoint/2010/main" val="6732697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876765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6"/>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66" r:id="rId4"/>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xml"/><Relationship Id="rId7" Type="http://schemas.openxmlformats.org/officeDocument/2006/relationships/hyperlink" Target="https://www.slidebooks.com/" TargetMode="Externa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svg"/><Relationship Id="rId3" Type="http://schemas.openxmlformats.org/officeDocument/2006/relationships/image" Target="../media/image39.svg"/><Relationship Id="rId7" Type="http://schemas.openxmlformats.org/officeDocument/2006/relationships/image" Target="../media/image43.svg"/><Relationship Id="rId12" Type="http://schemas.openxmlformats.org/officeDocument/2006/relationships/image" Target="../media/image48.png"/><Relationship Id="rId2" Type="http://schemas.openxmlformats.org/officeDocument/2006/relationships/image" Target="../media/image38.png"/><Relationship Id="rId1" Type="http://schemas.openxmlformats.org/officeDocument/2006/relationships/slideLayout" Target="../slideLayouts/slideLayout3.xml"/><Relationship Id="rId6" Type="http://schemas.openxmlformats.org/officeDocument/2006/relationships/image" Target="../media/image42.png"/><Relationship Id="rId11" Type="http://schemas.openxmlformats.org/officeDocument/2006/relationships/image" Target="../media/image47.svg"/><Relationship Id="rId5" Type="http://schemas.openxmlformats.org/officeDocument/2006/relationships/image" Target="../media/image41.sv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svg"/></Relationships>
</file>

<file path=ppt/slides/_rels/slide1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Layout" Target="../slideLayouts/slideLayout3.xml"/><Relationship Id="rId7" Type="http://schemas.openxmlformats.org/officeDocument/2006/relationships/hyperlink" Target="https://www.slidebooks.com/products/business-toolkit?variant=12473147916370&amp;utm_source=email&amp;utm_medium=email&amp;utm_campaign=entering%20new%20market" TargetMode="External"/><Relationship Id="rId12" Type="http://schemas.openxmlformats.org/officeDocument/2006/relationships/hyperlink" Target="https://www.slidebooks.com/collections/best-seller-business-documents/products/business-toolkit?variant=12473147916370&amp;utm_source=email&amp;utm_medium=email&amp;utm_campaign=entering%20new%20market" TargetMode="Externa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2.emf"/><Relationship Id="rId11" Type="http://schemas.openxmlformats.org/officeDocument/2006/relationships/hyperlink" Target="https://www.slidebooks.com/products/business-toolkit?variant=12473147916370" TargetMode="External"/><Relationship Id="rId5" Type="http://schemas.openxmlformats.org/officeDocument/2006/relationships/oleObject" Target="../embeddings/oleObject11.bin"/><Relationship Id="rId10" Type="http://schemas.openxmlformats.org/officeDocument/2006/relationships/hyperlink" Target="http://www.slidebooks.com/" TargetMode="External"/><Relationship Id="rId4" Type="http://schemas.openxmlformats.org/officeDocument/2006/relationships/notesSlide" Target="../notesSlides/notesSlide4.xml"/><Relationship Id="rId9" Type="http://schemas.openxmlformats.org/officeDocument/2006/relationships/hyperlink" Target="https://www.slidebooks.com/products/strategy-toolkit?variant=17648810693"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png"/><Relationship Id="rId3" Type="http://schemas.openxmlformats.org/officeDocument/2006/relationships/slideLayout" Target="../slideLayouts/slideLayout3.xml"/><Relationship Id="rId7" Type="http://schemas.openxmlformats.org/officeDocument/2006/relationships/hyperlink" Target="https://www.slidebooks.com/pages/management-consultants" TargetMode="External"/><Relationship Id="rId12" Type="http://schemas.openxmlformats.org/officeDocument/2006/relationships/image" Target="../media/image55.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emf"/><Relationship Id="rId11" Type="http://schemas.openxmlformats.org/officeDocument/2006/relationships/image" Target="../media/image54.png"/><Relationship Id="rId5" Type="http://schemas.openxmlformats.org/officeDocument/2006/relationships/oleObject" Target="../embeddings/oleObject12.bin"/><Relationship Id="rId10" Type="http://schemas.openxmlformats.org/officeDocument/2006/relationships/image" Target="../media/image53.png"/><Relationship Id="rId4" Type="http://schemas.openxmlformats.org/officeDocument/2006/relationships/notesSlide" Target="../notesSlides/notesSlide5.xml"/><Relationship Id="rId9" Type="http://schemas.openxmlformats.org/officeDocument/2006/relationships/image" Target="../media/image52.png"/></Relationships>
</file>

<file path=ppt/slides/_rels/slide1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hyperlink" Target="https://www.slidebooks.com/?utm_source=email&amp;utm_medium=email&amp;utm_campaign=entering%20new%20market" TargetMode="Externa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6.xml"/></Relationships>
</file>

<file path=ppt/slides/_rels/slide2.xml.rels><?xml version="1.0" encoding="UTF-8" standalone="yes"?>
<Relationships xmlns="http://schemas.openxmlformats.org/package/2006/relationships"><Relationship Id="rId8" Type="http://schemas.openxmlformats.org/officeDocument/2006/relationships/image" Target="../media/image7.svg"/><Relationship Id="rId13" Type="http://schemas.openxmlformats.org/officeDocument/2006/relationships/image" Target="../media/image12.png"/><Relationship Id="rId3" Type="http://schemas.openxmlformats.org/officeDocument/2006/relationships/oleObject" Target="../embeddings/oleObject7.bin"/><Relationship Id="rId7" Type="http://schemas.openxmlformats.org/officeDocument/2006/relationships/image" Target="../media/image6.png"/><Relationship Id="rId12" Type="http://schemas.openxmlformats.org/officeDocument/2006/relationships/image" Target="../media/image11.svg"/><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5.svg"/><Relationship Id="rId11" Type="http://schemas.openxmlformats.org/officeDocument/2006/relationships/image" Target="../media/image10.png"/><Relationship Id="rId5" Type="http://schemas.openxmlformats.org/officeDocument/2006/relationships/image" Target="../media/image4.png"/><Relationship Id="rId10" Type="http://schemas.openxmlformats.org/officeDocument/2006/relationships/image" Target="../media/image9.svg"/><Relationship Id="rId4" Type="http://schemas.openxmlformats.org/officeDocument/2006/relationships/image" Target="../media/image1.emf"/><Relationship Id="rId9" Type="http://schemas.openxmlformats.org/officeDocument/2006/relationships/image" Target="../media/image8.png"/><Relationship Id="rId14" Type="http://schemas.openxmlformats.org/officeDocument/2006/relationships/image" Target="../media/image13.svg"/></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15.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16.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17.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20.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13" Type="http://schemas.openxmlformats.org/officeDocument/2006/relationships/image" Target="../media/image23.svg"/><Relationship Id="rId18" Type="http://schemas.openxmlformats.org/officeDocument/2006/relationships/hyperlink" Target="https://www.slidebooks.com/collections/financial-templates/products/financial-planning-and-analysis-toolkit?variant=33123334815826" TargetMode="External"/><Relationship Id="rId26" Type="http://schemas.openxmlformats.org/officeDocument/2006/relationships/hyperlink" Target="https://www.slidebooks.com/collections/mergers-and-acquisitions/products/mergers-and-acquisitions-toolkit?variant=33123481157714" TargetMode="External"/><Relationship Id="rId21" Type="http://schemas.openxmlformats.org/officeDocument/2006/relationships/image" Target="../media/image24.png"/><Relationship Id="rId34" Type="http://schemas.openxmlformats.org/officeDocument/2006/relationships/hyperlink" Target="https://www.slidebooks.com/products/entrepreneurship-toolkit?variant=33123677569106" TargetMode="External"/><Relationship Id="rId7" Type="http://schemas.openxmlformats.org/officeDocument/2006/relationships/image" Target="../media/image17.svg"/><Relationship Id="rId12" Type="http://schemas.openxmlformats.org/officeDocument/2006/relationships/image" Target="../media/image22.png"/><Relationship Id="rId17" Type="http://schemas.openxmlformats.org/officeDocument/2006/relationships/hyperlink" Target="https://www.slidebooks.com/collections/sales-and-marketing/products/marketing-sales-toolkit?variant=31584180011090" TargetMode="External"/><Relationship Id="rId25" Type="http://schemas.openxmlformats.org/officeDocument/2006/relationships/image" Target="../media/image27.svg"/><Relationship Id="rId33" Type="http://schemas.openxmlformats.org/officeDocument/2006/relationships/image" Target="../media/image33.svg"/><Relationship Id="rId38" Type="http://schemas.openxmlformats.org/officeDocument/2006/relationships/image" Target="../media/image37.svg"/><Relationship Id="rId2" Type="http://schemas.openxmlformats.org/officeDocument/2006/relationships/tags" Target="../tags/tag22.xml"/><Relationship Id="rId16" Type="http://schemas.openxmlformats.org/officeDocument/2006/relationships/hyperlink" Target="https://www.slidebooks.com/collections/project-management-change-management/products/change-and-project-management-toolkit?variant=935073897" TargetMode="External"/><Relationship Id="rId20" Type="http://schemas.openxmlformats.org/officeDocument/2006/relationships/hyperlink" Target="https://www.slidebooks.com/collections/discounted-bundle/products/behavioral-skills-toolkit?variant=22116212677" TargetMode="External"/><Relationship Id="rId29" Type="http://schemas.openxmlformats.org/officeDocument/2006/relationships/image" Target="../media/image30.png"/><Relationship Id="rId1" Type="http://schemas.openxmlformats.org/officeDocument/2006/relationships/tags" Target="../tags/tag21.xml"/><Relationship Id="rId6" Type="http://schemas.openxmlformats.org/officeDocument/2006/relationships/image" Target="../media/image16.png"/><Relationship Id="rId11" Type="http://schemas.openxmlformats.org/officeDocument/2006/relationships/image" Target="../media/image21.svg"/><Relationship Id="rId24" Type="http://schemas.openxmlformats.org/officeDocument/2006/relationships/image" Target="../media/image26.png"/><Relationship Id="rId32" Type="http://schemas.openxmlformats.org/officeDocument/2006/relationships/image" Target="../media/image32.png"/><Relationship Id="rId37" Type="http://schemas.openxmlformats.org/officeDocument/2006/relationships/image" Target="../media/image36.png"/><Relationship Id="rId5" Type="http://schemas.openxmlformats.org/officeDocument/2006/relationships/image" Target="../media/image2.emf"/><Relationship Id="rId15" Type="http://schemas.openxmlformats.org/officeDocument/2006/relationships/hyperlink" Target="https://www.slidebooks.com/collections/management-consulting/products/management-consulting-toolkit?variant=22532413423698" TargetMode="External"/><Relationship Id="rId23" Type="http://schemas.openxmlformats.org/officeDocument/2006/relationships/hyperlink" Target="https://www.slidebooks.com/products/risk-management-toolkit?variant=4357895159838" TargetMode="External"/><Relationship Id="rId28" Type="http://schemas.openxmlformats.org/officeDocument/2006/relationships/image" Target="../media/image29.svg"/><Relationship Id="rId36" Type="http://schemas.openxmlformats.org/officeDocument/2006/relationships/image" Target="../media/image35.svg"/><Relationship Id="rId10" Type="http://schemas.openxmlformats.org/officeDocument/2006/relationships/image" Target="../media/image20.png"/><Relationship Id="rId19" Type="http://schemas.openxmlformats.org/officeDocument/2006/relationships/hyperlink" Target="https://www.slidebooks.com/collections/operations-and-supply-chain-management/products/operational-excellence-toolkit?variant=21571101957" TargetMode="External"/><Relationship Id="rId31" Type="http://schemas.openxmlformats.org/officeDocument/2006/relationships/hyperlink" Target="https://www.slidebooks.com/collections/best-seller-business-documents/products/digital-transformation-toolkit?variant=32127821316178" TargetMode="External"/><Relationship Id="rId4" Type="http://schemas.openxmlformats.org/officeDocument/2006/relationships/oleObject" Target="../embeddings/oleObject10.bin"/><Relationship Id="rId9" Type="http://schemas.openxmlformats.org/officeDocument/2006/relationships/image" Target="../media/image19.svg"/><Relationship Id="rId14" Type="http://schemas.openxmlformats.org/officeDocument/2006/relationships/hyperlink" Target="https://www.slidebooks.com/collections/discounted-bundle/products/strategy-toolkit?variant=17648810693" TargetMode="External"/><Relationship Id="rId22" Type="http://schemas.openxmlformats.org/officeDocument/2006/relationships/image" Target="../media/image25.svg"/><Relationship Id="rId27" Type="http://schemas.openxmlformats.org/officeDocument/2006/relationships/image" Target="../media/image28.png"/><Relationship Id="rId30" Type="http://schemas.openxmlformats.org/officeDocument/2006/relationships/image" Target="../media/image31.svg"/><Relationship Id="rId35" Type="http://schemas.openxmlformats.org/officeDocument/2006/relationships/image" Target="../media/image34.png"/><Relationship Id="rId8" Type="http://schemas.openxmlformats.org/officeDocument/2006/relationships/image" Target="../media/image18.png"/><Relationship Id="rId3"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2300366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C222716-69D1-4221-B418-044978CCFE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1" y="810229"/>
            <a:ext cx="10256128" cy="1967160"/>
          </a:xfrm>
        </p:spPr>
        <p:txBody>
          <a:bodyPr>
            <a:normAutofit/>
          </a:bodyPr>
          <a:lstStyle/>
          <a:p>
            <a:r>
              <a:rPr lang="en-US" sz="5400" dirty="0"/>
              <a:t>Stakeholder Analysis Process and Matrix</a:t>
            </a:r>
          </a:p>
        </p:txBody>
      </p:sp>
      <p:sp>
        <p:nvSpPr>
          <p:cNvPr id="3" name="Text Placeholder 2">
            <a:extLst>
              <a:ext uri="{FF2B5EF4-FFF2-40B4-BE49-F238E27FC236}">
                <a16:creationId xmlns:a16="http://schemas.microsoft.com/office/drawing/2014/main" id="{D781CD62-85AB-400E-A66C-9594AAD807B4}"/>
              </a:ext>
            </a:extLst>
          </p:cNvPr>
          <p:cNvSpPr>
            <a:spLocks noGrp="1"/>
          </p:cNvSpPr>
          <p:nvPr>
            <p:ph type="body" sz="quarter" idx="11"/>
          </p:nvPr>
        </p:nvSpPr>
        <p:spPr>
          <a:xfrm>
            <a:off x="502541" y="3429000"/>
            <a:ext cx="5139735" cy="615553"/>
          </a:xfrm>
        </p:spPr>
        <p:txBody>
          <a:bodyPr wrap="square" lIns="0" tIns="0" rIns="0" bIns="0">
            <a:spAutoFit/>
          </a:bodyPr>
          <a:lstStyle/>
          <a:p>
            <a:pPr>
              <a:lnSpc>
                <a:spcPct val="100000"/>
              </a:lnSpc>
              <a:spcBef>
                <a:spcPts val="500"/>
              </a:spcBef>
              <a:spcAft>
                <a:spcPts val="500"/>
              </a:spcAft>
            </a:pPr>
            <a:r>
              <a:rPr lang="en-US" sz="2000" b="1" dirty="0"/>
              <a:t>Created by Management Consultants, previously from Deloitte, McKinsey &amp; BCG</a:t>
            </a:r>
          </a:p>
        </p:txBody>
      </p:sp>
      <p:pic>
        <p:nvPicPr>
          <p:cNvPr id="7" name="Picture 6">
            <a:hlinkClick r:id="rId7"/>
            <a:extLst>
              <a:ext uri="{FF2B5EF4-FFF2-40B4-BE49-F238E27FC236}">
                <a16:creationId xmlns:a16="http://schemas.microsoft.com/office/drawing/2014/main" id="{56F6D9FE-2BD8-43FA-8517-544E7B92AA1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86245" y="5169132"/>
            <a:ext cx="4306571" cy="1264867"/>
          </a:xfrm>
          <a:prstGeom prst="rect">
            <a:avLst/>
          </a:prstGeom>
        </p:spPr>
      </p:pic>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29E128-874F-4970-8C32-8BD50EB22916}"/>
              </a:ext>
            </a:extLst>
          </p:cNvPr>
          <p:cNvSpPr>
            <a:spLocks noGrp="1"/>
          </p:cNvSpPr>
          <p:nvPr>
            <p:ph type="title"/>
          </p:nvPr>
        </p:nvSpPr>
        <p:spPr/>
        <p:txBody>
          <a:bodyPr/>
          <a:lstStyle/>
          <a:p>
            <a:r>
              <a:rPr lang="en-GB" dirty="0"/>
              <a:t>Each Business &amp; Consulting Toolkit includes:</a:t>
            </a:r>
            <a:endParaRPr lang="en-AU" dirty="0"/>
          </a:p>
        </p:txBody>
      </p:sp>
      <p:sp>
        <p:nvSpPr>
          <p:cNvPr id="4" name="Slide Number Placeholder 3">
            <a:extLst>
              <a:ext uri="{FF2B5EF4-FFF2-40B4-BE49-F238E27FC236}">
                <a16:creationId xmlns:a16="http://schemas.microsoft.com/office/drawing/2014/main" id="{700EA918-702D-4F58-911F-053B52692C2B}"/>
              </a:ext>
            </a:extLst>
          </p:cNvPr>
          <p:cNvSpPr>
            <a:spLocks noGrp="1"/>
          </p:cNvSpPr>
          <p:nvPr>
            <p:ph type="sldNum" sz="quarter" idx="4"/>
          </p:nvPr>
        </p:nvSpPr>
        <p:spPr/>
        <p:txBody>
          <a:bodyPr/>
          <a:lstStyle/>
          <a:p>
            <a:fld id="{37F5C94B-8C55-478B-B509-BAE6A06B2E2A}" type="slidenum">
              <a:rPr lang="en-IN" sz="900" smtClean="0"/>
              <a:pPr/>
              <a:t>10</a:t>
            </a:fld>
            <a:endParaRPr lang="en-IN" sz="900" dirty="0"/>
          </a:p>
        </p:txBody>
      </p:sp>
      <p:sp>
        <p:nvSpPr>
          <p:cNvPr id="29" name="Freeform: Shape 28">
            <a:extLst>
              <a:ext uri="{FF2B5EF4-FFF2-40B4-BE49-F238E27FC236}">
                <a16:creationId xmlns:a16="http://schemas.microsoft.com/office/drawing/2014/main" id="{002415BF-6682-4883-B07E-CDE28D3756E6}"/>
              </a:ext>
            </a:extLst>
          </p:cNvPr>
          <p:cNvSpPr/>
          <p:nvPr/>
        </p:nvSpPr>
        <p:spPr>
          <a:xfrm>
            <a:off x="5589051" y="1857176"/>
            <a:ext cx="1541945" cy="1602071"/>
          </a:xfrm>
          <a:custGeom>
            <a:avLst/>
            <a:gdLst>
              <a:gd name="connsiteX0" fmla="*/ 449936 w 1494279"/>
              <a:gd name="connsiteY0" fmla="*/ 0 h 1552547"/>
              <a:gd name="connsiteX1" fmla="*/ 1381208 w 1494279"/>
              <a:gd name="connsiteY1" fmla="*/ 235807 h 1552547"/>
              <a:gd name="connsiteX2" fmla="*/ 1494279 w 1494279"/>
              <a:gd name="connsiteY2" fmla="*/ 304499 h 1552547"/>
              <a:gd name="connsiteX3" fmla="*/ 1203523 w 1494279"/>
              <a:gd name="connsiteY3" fmla="*/ 1552547 h 1552547"/>
              <a:gd name="connsiteX4" fmla="*/ 0 w 1494279"/>
              <a:gd name="connsiteY4" fmla="*/ 54141 h 1552547"/>
              <a:gd name="connsiteX5" fmla="*/ 56188 w 1494279"/>
              <a:gd name="connsiteY5" fmla="*/ 39693 h 1552547"/>
              <a:gd name="connsiteX6" fmla="*/ 449936 w 1494279"/>
              <a:gd name="connsiteY6" fmla="*/ 0 h 155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94279" h="1552547">
                <a:moveTo>
                  <a:pt x="449936" y="0"/>
                </a:moveTo>
                <a:cubicBezTo>
                  <a:pt x="787132" y="0"/>
                  <a:pt x="1104376" y="85422"/>
                  <a:pt x="1381208" y="235807"/>
                </a:cubicBezTo>
                <a:lnTo>
                  <a:pt x="1494279" y="304499"/>
                </a:lnTo>
                <a:lnTo>
                  <a:pt x="1203523" y="1552547"/>
                </a:lnTo>
                <a:lnTo>
                  <a:pt x="0" y="54141"/>
                </a:lnTo>
                <a:lnTo>
                  <a:pt x="56188" y="39693"/>
                </a:lnTo>
                <a:cubicBezTo>
                  <a:pt x="183372" y="13668"/>
                  <a:pt x="315058" y="0"/>
                  <a:pt x="449936" y="0"/>
                </a:cubicBezTo>
                <a:close/>
              </a:path>
            </a:pathLst>
          </a:custGeom>
          <a:solidFill>
            <a:schemeClr val="tx1">
              <a:lumMod val="10000"/>
              <a:lumOff val="90000"/>
            </a:schemeClr>
          </a:solidFill>
          <a:ln w="120650" cap="rnd">
            <a:solidFill>
              <a:schemeClr val="bg2">
                <a:lumMod val="10000"/>
                <a:lumOff val="9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0" name="Freeform: Shape 29">
            <a:extLst>
              <a:ext uri="{FF2B5EF4-FFF2-40B4-BE49-F238E27FC236}">
                <a16:creationId xmlns:a16="http://schemas.microsoft.com/office/drawing/2014/main" id="{6A183F90-471A-46C5-ADC3-70B997FB59EF}"/>
              </a:ext>
            </a:extLst>
          </p:cNvPr>
          <p:cNvSpPr/>
          <p:nvPr/>
        </p:nvSpPr>
        <p:spPr>
          <a:xfrm>
            <a:off x="4086566" y="2008943"/>
            <a:ext cx="2050317" cy="1064167"/>
          </a:xfrm>
          <a:custGeom>
            <a:avLst/>
            <a:gdLst>
              <a:gd name="connsiteX0" fmla="*/ 1158614 w 1986933"/>
              <a:gd name="connsiteY0" fmla="*/ 0 h 1031271"/>
              <a:gd name="connsiteX1" fmla="*/ 1986933 w 1986933"/>
              <a:gd name="connsiteY1" fmla="*/ 1031271 h 1031271"/>
              <a:gd name="connsiteX2" fmla="*/ 0 w 1986933"/>
              <a:gd name="connsiteY2" fmla="*/ 1031271 h 1031271"/>
              <a:gd name="connsiteX3" fmla="*/ 51879 w 1986933"/>
              <a:gd name="connsiteY3" fmla="*/ 923577 h 1031271"/>
              <a:gd name="connsiteX4" fmla="*/ 1009333 w 1986933"/>
              <a:gd name="connsiteY4" fmla="*/ 54637 h 1031271"/>
              <a:gd name="connsiteX5" fmla="*/ 1158614 w 1986933"/>
              <a:gd name="connsiteY5" fmla="*/ 0 h 1031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6933" h="1031271">
                <a:moveTo>
                  <a:pt x="1158614" y="0"/>
                </a:moveTo>
                <a:lnTo>
                  <a:pt x="1986933" y="1031271"/>
                </a:lnTo>
                <a:lnTo>
                  <a:pt x="0" y="1031271"/>
                </a:lnTo>
                <a:lnTo>
                  <a:pt x="51879" y="923577"/>
                </a:lnTo>
                <a:cubicBezTo>
                  <a:pt x="262418" y="536011"/>
                  <a:pt x="600283" y="227651"/>
                  <a:pt x="1009333" y="54637"/>
                </a:cubicBezTo>
                <a:lnTo>
                  <a:pt x="1158614" y="0"/>
                </a:lnTo>
                <a:close/>
              </a:path>
            </a:pathLst>
          </a:custGeom>
          <a:solidFill>
            <a:schemeClr val="tx1">
              <a:lumMod val="10000"/>
              <a:lumOff val="90000"/>
            </a:schemeClr>
          </a:solidFill>
          <a:ln w="120650" cap="rnd">
            <a:solidFill>
              <a:schemeClr val="bg2">
                <a:lumMod val="10000"/>
                <a:lumOff val="9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1" name="Freeform: Shape 30">
            <a:extLst>
              <a:ext uri="{FF2B5EF4-FFF2-40B4-BE49-F238E27FC236}">
                <a16:creationId xmlns:a16="http://schemas.microsoft.com/office/drawing/2014/main" id="{EA340CA8-705C-490B-947F-1A98BA714C4B}"/>
              </a:ext>
            </a:extLst>
          </p:cNvPr>
          <p:cNvSpPr/>
          <p:nvPr/>
        </p:nvSpPr>
        <p:spPr>
          <a:xfrm>
            <a:off x="6957015" y="2342538"/>
            <a:ext cx="1231610" cy="1934203"/>
          </a:xfrm>
          <a:custGeom>
            <a:avLst/>
            <a:gdLst>
              <a:gd name="connsiteX0" fmla="*/ 436678 w 1193536"/>
              <a:gd name="connsiteY0" fmla="*/ 0 h 1874411"/>
              <a:gd name="connsiteX1" fmla="*/ 499308 w 1193536"/>
              <a:gd name="connsiteY1" fmla="*/ 46834 h 1874411"/>
              <a:gd name="connsiteX2" fmla="*/ 1170598 w 1193536"/>
              <a:gd name="connsiteY2" fmla="*/ 1160692 h 1874411"/>
              <a:gd name="connsiteX3" fmla="*/ 1193536 w 1193536"/>
              <a:gd name="connsiteY3" fmla="*/ 1310985 h 1874411"/>
              <a:gd name="connsiteX4" fmla="*/ 0 w 1193536"/>
              <a:gd name="connsiteY4" fmla="*/ 1874411 h 1874411"/>
              <a:gd name="connsiteX5" fmla="*/ 436678 w 1193536"/>
              <a:gd name="connsiteY5" fmla="*/ 0 h 1874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3536" h="1874411">
                <a:moveTo>
                  <a:pt x="436678" y="0"/>
                </a:moveTo>
                <a:lnTo>
                  <a:pt x="499308" y="46834"/>
                </a:lnTo>
                <a:cubicBezTo>
                  <a:pt x="837031" y="325547"/>
                  <a:pt x="1079508" y="715547"/>
                  <a:pt x="1170598" y="1160692"/>
                </a:cubicBezTo>
                <a:lnTo>
                  <a:pt x="1193536" y="1310985"/>
                </a:lnTo>
                <a:lnTo>
                  <a:pt x="0" y="1874411"/>
                </a:lnTo>
                <a:lnTo>
                  <a:pt x="436678" y="0"/>
                </a:lnTo>
                <a:close/>
              </a:path>
            </a:pathLst>
          </a:custGeom>
          <a:solidFill>
            <a:schemeClr val="tx1">
              <a:lumMod val="10000"/>
              <a:lumOff val="90000"/>
            </a:schemeClr>
          </a:solidFill>
          <a:ln w="120650" cap="rnd">
            <a:solidFill>
              <a:schemeClr val="bg2">
                <a:lumMod val="10000"/>
                <a:lumOff val="9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2" name="Freeform: Shape 31">
            <a:extLst>
              <a:ext uri="{FF2B5EF4-FFF2-40B4-BE49-F238E27FC236}">
                <a16:creationId xmlns:a16="http://schemas.microsoft.com/office/drawing/2014/main" id="{0707F0E5-DA49-4BCE-B9A7-45C737580C5D}"/>
              </a:ext>
            </a:extLst>
          </p:cNvPr>
          <p:cNvSpPr/>
          <p:nvPr/>
        </p:nvSpPr>
        <p:spPr>
          <a:xfrm>
            <a:off x="3840213" y="3351502"/>
            <a:ext cx="1537990" cy="1624302"/>
          </a:xfrm>
          <a:custGeom>
            <a:avLst/>
            <a:gdLst>
              <a:gd name="connsiteX0" fmla="*/ 120350 w 1490446"/>
              <a:gd name="connsiteY0" fmla="*/ 0 h 1574090"/>
              <a:gd name="connsiteX1" fmla="*/ 1490446 w 1490446"/>
              <a:gd name="connsiteY1" fmla="*/ 0 h 1574090"/>
              <a:gd name="connsiteX2" fmla="*/ 222801 w 1490446"/>
              <a:gd name="connsiteY2" fmla="*/ 1574090 h 1574090"/>
              <a:gd name="connsiteX3" fmla="*/ 153535 w 1490446"/>
              <a:gd name="connsiteY3" fmla="*/ 1430303 h 1574090"/>
              <a:gd name="connsiteX4" fmla="*/ 0 w 1490446"/>
              <a:gd name="connsiteY4" fmla="*/ 669816 h 1574090"/>
              <a:gd name="connsiteX5" fmla="*/ 87837 w 1490446"/>
              <a:gd name="connsiteY5" fmla="*/ 88831 h 1574090"/>
              <a:gd name="connsiteX6" fmla="*/ 120350 w 1490446"/>
              <a:gd name="connsiteY6" fmla="*/ 0 h 1574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90446" h="1574090">
                <a:moveTo>
                  <a:pt x="120350" y="0"/>
                </a:moveTo>
                <a:lnTo>
                  <a:pt x="1490446" y="0"/>
                </a:lnTo>
                <a:lnTo>
                  <a:pt x="222801" y="1574090"/>
                </a:lnTo>
                <a:lnTo>
                  <a:pt x="153535" y="1430303"/>
                </a:lnTo>
                <a:cubicBezTo>
                  <a:pt x="54670" y="1196560"/>
                  <a:pt x="0" y="939572"/>
                  <a:pt x="0" y="669816"/>
                </a:cubicBezTo>
                <a:cubicBezTo>
                  <a:pt x="0" y="467499"/>
                  <a:pt x="30752" y="272364"/>
                  <a:pt x="87837" y="88831"/>
                </a:cubicBezTo>
                <a:lnTo>
                  <a:pt x="120350" y="0"/>
                </a:lnTo>
                <a:close/>
              </a:path>
            </a:pathLst>
          </a:custGeom>
          <a:solidFill>
            <a:schemeClr val="tx1">
              <a:lumMod val="10000"/>
              <a:lumOff val="90000"/>
            </a:schemeClr>
          </a:solidFill>
          <a:ln w="120650" cap="rnd">
            <a:solidFill>
              <a:schemeClr val="bg2">
                <a:lumMod val="10000"/>
                <a:lumOff val="9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3" name="Freeform: Shape 32">
            <a:extLst>
              <a:ext uri="{FF2B5EF4-FFF2-40B4-BE49-F238E27FC236}">
                <a16:creationId xmlns:a16="http://schemas.microsoft.com/office/drawing/2014/main" id="{4481EFF4-7962-4443-97F7-16D2FF87542E}"/>
              </a:ext>
            </a:extLst>
          </p:cNvPr>
          <p:cNvSpPr/>
          <p:nvPr/>
        </p:nvSpPr>
        <p:spPr>
          <a:xfrm>
            <a:off x="6382420" y="4026794"/>
            <a:ext cx="1790261" cy="1447968"/>
          </a:xfrm>
          <a:custGeom>
            <a:avLst/>
            <a:gdLst>
              <a:gd name="connsiteX0" fmla="*/ 1730906 w 1734917"/>
              <a:gd name="connsiteY0" fmla="*/ 0 h 1403206"/>
              <a:gd name="connsiteX1" fmla="*/ 1734917 w 1734917"/>
              <a:gd name="connsiteY1" fmla="*/ 79438 h 1403206"/>
              <a:gd name="connsiteX2" fmla="*/ 1288776 w 1734917"/>
              <a:gd name="connsiteY2" fmla="*/ 1322203 h 1403206"/>
              <a:gd name="connsiteX3" fmla="*/ 1215155 w 1734917"/>
              <a:gd name="connsiteY3" fmla="*/ 1403206 h 1403206"/>
              <a:gd name="connsiteX4" fmla="*/ 0 w 1734917"/>
              <a:gd name="connsiteY4" fmla="*/ 817100 h 1403206"/>
              <a:gd name="connsiteX5" fmla="*/ 1730906 w 1734917"/>
              <a:gd name="connsiteY5" fmla="*/ 0 h 1403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4917" h="1403206">
                <a:moveTo>
                  <a:pt x="1730906" y="0"/>
                </a:moveTo>
                <a:lnTo>
                  <a:pt x="1734917" y="79438"/>
                </a:lnTo>
                <a:cubicBezTo>
                  <a:pt x="1734917" y="551512"/>
                  <a:pt x="1567490" y="984480"/>
                  <a:pt x="1288776" y="1322203"/>
                </a:cubicBezTo>
                <a:lnTo>
                  <a:pt x="1215155" y="1403206"/>
                </a:lnTo>
                <a:lnTo>
                  <a:pt x="0" y="817100"/>
                </a:lnTo>
                <a:lnTo>
                  <a:pt x="1730906" y="0"/>
                </a:lnTo>
                <a:close/>
              </a:path>
            </a:pathLst>
          </a:custGeom>
          <a:solidFill>
            <a:schemeClr val="tx1">
              <a:lumMod val="10000"/>
              <a:lumOff val="90000"/>
            </a:schemeClr>
          </a:solidFill>
          <a:ln w="120650" cap="rnd">
            <a:solidFill>
              <a:schemeClr val="bg2">
                <a:lumMod val="10000"/>
                <a:lumOff val="9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4" name="Freeform: Shape 33">
            <a:extLst>
              <a:ext uri="{FF2B5EF4-FFF2-40B4-BE49-F238E27FC236}">
                <a16:creationId xmlns:a16="http://schemas.microsoft.com/office/drawing/2014/main" id="{B8C3D1C6-6FEB-456B-8B07-AC84B0EF0E77}"/>
              </a:ext>
            </a:extLst>
          </p:cNvPr>
          <p:cNvSpPr/>
          <p:nvPr/>
        </p:nvSpPr>
        <p:spPr>
          <a:xfrm>
            <a:off x="4223581" y="4098546"/>
            <a:ext cx="1361762" cy="2036852"/>
          </a:xfrm>
          <a:custGeom>
            <a:avLst/>
            <a:gdLst>
              <a:gd name="connsiteX0" fmla="*/ 882838 w 1319666"/>
              <a:gd name="connsiteY0" fmla="*/ 0 h 1973884"/>
              <a:gd name="connsiteX1" fmla="*/ 1319666 w 1319666"/>
              <a:gd name="connsiteY1" fmla="*/ 1973884 h 1973884"/>
              <a:gd name="connsiteX2" fmla="*/ 1254243 w 1319666"/>
              <a:gd name="connsiteY2" fmla="*/ 1963899 h 1973884"/>
              <a:gd name="connsiteX3" fmla="*/ 27913 w 1319666"/>
              <a:gd name="connsiteY3" fmla="*/ 1142204 h 1973884"/>
              <a:gd name="connsiteX4" fmla="*/ 0 w 1319666"/>
              <a:gd name="connsiteY4" fmla="*/ 1096259 h 1973884"/>
              <a:gd name="connsiteX5" fmla="*/ 882838 w 1319666"/>
              <a:gd name="connsiteY5" fmla="*/ 0 h 1973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9666" h="1973884">
                <a:moveTo>
                  <a:pt x="882838" y="0"/>
                </a:moveTo>
                <a:lnTo>
                  <a:pt x="1319666" y="1973884"/>
                </a:lnTo>
                <a:lnTo>
                  <a:pt x="1254243" y="1963899"/>
                </a:lnTo>
                <a:cubicBezTo>
                  <a:pt x="745506" y="1859796"/>
                  <a:pt x="308795" y="1557964"/>
                  <a:pt x="27913" y="1142204"/>
                </a:cubicBezTo>
                <a:lnTo>
                  <a:pt x="0" y="1096259"/>
                </a:lnTo>
                <a:lnTo>
                  <a:pt x="882838" y="0"/>
                </a:lnTo>
                <a:close/>
              </a:path>
            </a:pathLst>
          </a:custGeom>
          <a:solidFill>
            <a:schemeClr val="tx1">
              <a:lumMod val="10000"/>
              <a:lumOff val="90000"/>
            </a:schemeClr>
          </a:solidFill>
          <a:ln w="120650" cap="rnd">
            <a:solidFill>
              <a:schemeClr val="bg2">
                <a:lumMod val="10000"/>
                <a:lumOff val="9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5" name="Freeform: Shape 34">
            <a:extLst>
              <a:ext uri="{FF2B5EF4-FFF2-40B4-BE49-F238E27FC236}">
                <a16:creationId xmlns:a16="http://schemas.microsoft.com/office/drawing/2014/main" id="{A5B51FB2-F0DF-4305-A9AD-6823BECDD983}"/>
              </a:ext>
            </a:extLst>
          </p:cNvPr>
          <p:cNvSpPr/>
          <p:nvPr/>
        </p:nvSpPr>
        <p:spPr>
          <a:xfrm>
            <a:off x="5586030" y="4787905"/>
            <a:ext cx="1844555" cy="1421082"/>
          </a:xfrm>
          <a:custGeom>
            <a:avLst/>
            <a:gdLst>
              <a:gd name="connsiteX0" fmla="*/ 0 w 1787533"/>
              <a:gd name="connsiteY0" fmla="*/ 0 h 1377152"/>
              <a:gd name="connsiteX1" fmla="*/ 1787533 w 1787533"/>
              <a:gd name="connsiteY1" fmla="*/ 862182 h 1377152"/>
              <a:gd name="connsiteX2" fmla="*/ 1711802 w 1787533"/>
              <a:gd name="connsiteY2" fmla="*/ 931011 h 1377152"/>
              <a:gd name="connsiteX3" fmla="*/ 469037 w 1787533"/>
              <a:gd name="connsiteY3" fmla="*/ 1377152 h 1377152"/>
              <a:gd name="connsiteX4" fmla="*/ 302913 w 1787533"/>
              <a:gd name="connsiteY4" fmla="*/ 1368764 h 1377152"/>
              <a:gd name="connsiteX5" fmla="*/ 0 w 1787533"/>
              <a:gd name="connsiteY5" fmla="*/ 0 h 137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7533" h="1377152">
                <a:moveTo>
                  <a:pt x="0" y="0"/>
                </a:moveTo>
                <a:lnTo>
                  <a:pt x="1787533" y="862182"/>
                </a:lnTo>
                <a:lnTo>
                  <a:pt x="1711802" y="931011"/>
                </a:lnTo>
                <a:cubicBezTo>
                  <a:pt x="1374079" y="1209725"/>
                  <a:pt x="941111" y="1377152"/>
                  <a:pt x="469037" y="1377152"/>
                </a:cubicBezTo>
                <a:lnTo>
                  <a:pt x="302913" y="1368764"/>
                </a:lnTo>
                <a:lnTo>
                  <a:pt x="0" y="0"/>
                </a:lnTo>
                <a:close/>
              </a:path>
            </a:pathLst>
          </a:custGeom>
          <a:solidFill>
            <a:schemeClr val="tx1">
              <a:lumMod val="10000"/>
              <a:lumOff val="90000"/>
            </a:schemeClr>
          </a:solidFill>
          <a:ln w="120650" cap="rnd">
            <a:solidFill>
              <a:schemeClr val="bg2">
                <a:lumMod val="10000"/>
                <a:lumOff val="9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6" name="Freeform: Shape 35">
            <a:extLst>
              <a:ext uri="{FF2B5EF4-FFF2-40B4-BE49-F238E27FC236}">
                <a16:creationId xmlns:a16="http://schemas.microsoft.com/office/drawing/2014/main" id="{3C31916A-7B40-465B-8DA1-F4F94593438D}"/>
              </a:ext>
            </a:extLst>
          </p:cNvPr>
          <p:cNvSpPr>
            <a:spLocks/>
          </p:cNvSpPr>
          <p:nvPr/>
        </p:nvSpPr>
        <p:spPr bwMode="auto">
          <a:xfrm>
            <a:off x="5379698" y="3358618"/>
            <a:ext cx="1347029" cy="1315294"/>
          </a:xfrm>
          <a:custGeom>
            <a:avLst/>
            <a:gdLst>
              <a:gd name="connsiteX0" fmla="*/ 395606 w 1432450"/>
              <a:gd name="connsiteY0" fmla="*/ 0 h 1398702"/>
              <a:gd name="connsiteX1" fmla="*/ 400368 w 1432450"/>
              <a:gd name="connsiteY1" fmla="*/ 0 h 1398702"/>
              <a:gd name="connsiteX2" fmla="*/ 1032083 w 1432450"/>
              <a:gd name="connsiteY2" fmla="*/ 0 h 1398702"/>
              <a:gd name="connsiteX3" fmla="*/ 1036845 w 1432450"/>
              <a:gd name="connsiteY3" fmla="*/ 0 h 1398702"/>
              <a:gd name="connsiteX4" fmla="*/ 1035054 w 1432450"/>
              <a:gd name="connsiteY4" fmla="*/ 3725 h 1398702"/>
              <a:gd name="connsiteX5" fmla="*/ 1430844 w 1432450"/>
              <a:gd name="connsiteY5" fmla="*/ 499912 h 1398702"/>
              <a:gd name="connsiteX6" fmla="*/ 1432450 w 1432450"/>
              <a:gd name="connsiteY6" fmla="*/ 499544 h 1398702"/>
              <a:gd name="connsiteX7" fmla="*/ 1432027 w 1432450"/>
              <a:gd name="connsiteY7" fmla="*/ 501395 h 1398702"/>
              <a:gd name="connsiteX8" fmla="*/ 1432450 w 1432450"/>
              <a:gd name="connsiteY8" fmla="*/ 501925 h 1398702"/>
              <a:gd name="connsiteX9" fmla="*/ 1431876 w 1432450"/>
              <a:gd name="connsiteY9" fmla="*/ 502057 h 1398702"/>
              <a:gd name="connsiteX10" fmla="*/ 1291208 w 1432450"/>
              <a:gd name="connsiteY10" fmla="*/ 1117597 h 1398702"/>
              <a:gd name="connsiteX11" fmla="*/ 1294317 w 1432450"/>
              <a:gd name="connsiteY11" fmla="*/ 1120072 h 1398702"/>
              <a:gd name="connsiteX12" fmla="*/ 1290188 w 1432450"/>
              <a:gd name="connsiteY12" fmla="*/ 1122062 h 1398702"/>
              <a:gd name="connsiteX13" fmla="*/ 1289555 w 1432450"/>
              <a:gd name="connsiteY13" fmla="*/ 1124834 h 1398702"/>
              <a:gd name="connsiteX14" fmla="*/ 1287625 w 1432450"/>
              <a:gd name="connsiteY14" fmla="*/ 1123298 h 1398702"/>
              <a:gd name="connsiteX15" fmla="*/ 716225 w 1432450"/>
              <a:gd name="connsiteY15" fmla="*/ 1398702 h 1398702"/>
              <a:gd name="connsiteX16" fmla="*/ 716225 w 1432450"/>
              <a:gd name="connsiteY16" fmla="*/ 1390497 h 1398702"/>
              <a:gd name="connsiteX17" fmla="*/ 150485 w 1432450"/>
              <a:gd name="connsiteY17" fmla="*/ 1117821 h 1398702"/>
              <a:gd name="connsiteX18" fmla="*/ 147657 w 1432450"/>
              <a:gd name="connsiteY18" fmla="*/ 1120072 h 1398702"/>
              <a:gd name="connsiteX19" fmla="*/ 146729 w 1432450"/>
              <a:gd name="connsiteY19" fmla="*/ 1116011 h 1398702"/>
              <a:gd name="connsiteX20" fmla="*/ 145276 w 1432450"/>
              <a:gd name="connsiteY20" fmla="*/ 1115310 h 1398702"/>
              <a:gd name="connsiteX21" fmla="*/ 146370 w 1432450"/>
              <a:gd name="connsiteY21" fmla="*/ 1114439 h 1398702"/>
              <a:gd name="connsiteX22" fmla="*/ 6747 w 1432450"/>
              <a:gd name="connsiteY22" fmla="*/ 503470 h 1398702"/>
              <a:gd name="connsiteX23" fmla="*/ 0 w 1432450"/>
              <a:gd name="connsiteY23" fmla="*/ 501925 h 1398702"/>
              <a:gd name="connsiteX24" fmla="*/ 4970 w 1432450"/>
              <a:gd name="connsiteY24" fmla="*/ 495694 h 1398702"/>
              <a:gd name="connsiteX25" fmla="*/ 4762 w 1432450"/>
              <a:gd name="connsiteY25" fmla="*/ 494782 h 1398702"/>
              <a:gd name="connsiteX26" fmla="*/ 5553 w 1432450"/>
              <a:gd name="connsiteY26" fmla="*/ 494963 h 1398702"/>
              <a:gd name="connsiteX27" fmla="*/ 397397 w 1432450"/>
              <a:gd name="connsiteY27" fmla="*/ 3725 h 139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32450" h="1398702">
                <a:moveTo>
                  <a:pt x="395606" y="0"/>
                </a:moveTo>
                <a:lnTo>
                  <a:pt x="400368" y="0"/>
                </a:lnTo>
                <a:lnTo>
                  <a:pt x="1032083" y="0"/>
                </a:lnTo>
                <a:lnTo>
                  <a:pt x="1036845" y="0"/>
                </a:lnTo>
                <a:lnTo>
                  <a:pt x="1035054" y="3725"/>
                </a:lnTo>
                <a:lnTo>
                  <a:pt x="1430844" y="499912"/>
                </a:lnTo>
                <a:lnTo>
                  <a:pt x="1432450" y="499544"/>
                </a:lnTo>
                <a:lnTo>
                  <a:pt x="1432027" y="501395"/>
                </a:lnTo>
                <a:lnTo>
                  <a:pt x="1432450" y="501925"/>
                </a:lnTo>
                <a:lnTo>
                  <a:pt x="1431876" y="502057"/>
                </a:lnTo>
                <a:lnTo>
                  <a:pt x="1291208" y="1117597"/>
                </a:lnTo>
                <a:lnTo>
                  <a:pt x="1294317" y="1120072"/>
                </a:lnTo>
                <a:lnTo>
                  <a:pt x="1290188" y="1122062"/>
                </a:lnTo>
                <a:lnTo>
                  <a:pt x="1289555" y="1124834"/>
                </a:lnTo>
                <a:lnTo>
                  <a:pt x="1287625" y="1123298"/>
                </a:lnTo>
                <a:lnTo>
                  <a:pt x="716225" y="1398702"/>
                </a:lnTo>
                <a:lnTo>
                  <a:pt x="716225" y="1390497"/>
                </a:lnTo>
                <a:lnTo>
                  <a:pt x="150485" y="1117821"/>
                </a:lnTo>
                <a:lnTo>
                  <a:pt x="147657" y="1120072"/>
                </a:lnTo>
                <a:lnTo>
                  <a:pt x="146729" y="1116011"/>
                </a:lnTo>
                <a:lnTo>
                  <a:pt x="145276" y="1115310"/>
                </a:lnTo>
                <a:lnTo>
                  <a:pt x="146370" y="1114439"/>
                </a:lnTo>
                <a:lnTo>
                  <a:pt x="6747" y="503470"/>
                </a:lnTo>
                <a:lnTo>
                  <a:pt x="0" y="501925"/>
                </a:lnTo>
                <a:lnTo>
                  <a:pt x="4970" y="495694"/>
                </a:lnTo>
                <a:lnTo>
                  <a:pt x="4762" y="494782"/>
                </a:lnTo>
                <a:lnTo>
                  <a:pt x="5553" y="494963"/>
                </a:lnTo>
                <a:lnTo>
                  <a:pt x="397397" y="3725"/>
                </a:lnTo>
                <a:close/>
              </a:path>
            </a:pathLst>
          </a:custGeom>
          <a:solidFill>
            <a:schemeClr val="tx1"/>
          </a:solidFill>
          <a:ln w="161925" cap="rnd">
            <a:solidFill>
              <a:schemeClr val="tx1"/>
            </a:solidFill>
            <a:prstDash val="solid"/>
            <a:round/>
          </a:ln>
        </p:spPr>
        <p:txBody>
          <a:bodyPr vert="horz" wrap="square" lIns="91440" tIns="45720" rIns="91440" bIns="45720" numCol="1" anchor="t" anchorCtr="0" compatLnSpc="1">
            <a:prstTxWarp prst="textNoShape">
              <a:avLst/>
            </a:prstTxWarp>
            <a:noAutofit/>
          </a:bodyPr>
          <a:lstStyle/>
          <a:p>
            <a:endParaRPr lang="en-US" dirty="0"/>
          </a:p>
        </p:txBody>
      </p:sp>
      <p:sp>
        <p:nvSpPr>
          <p:cNvPr id="7" name="Rectangle 6">
            <a:extLst>
              <a:ext uri="{FF2B5EF4-FFF2-40B4-BE49-F238E27FC236}">
                <a16:creationId xmlns:a16="http://schemas.microsoft.com/office/drawing/2014/main" id="{0B203578-96F6-4B8F-8735-1DF6DE7D5942}"/>
              </a:ext>
            </a:extLst>
          </p:cNvPr>
          <p:cNvSpPr/>
          <p:nvPr/>
        </p:nvSpPr>
        <p:spPr>
          <a:xfrm>
            <a:off x="5400664" y="3714029"/>
            <a:ext cx="1305096" cy="449624"/>
          </a:xfrm>
          <a:prstGeom prst="rect">
            <a:avLst/>
          </a:prstGeom>
        </p:spPr>
        <p:txBody>
          <a:bodyPr wrap="none">
            <a:spAutoFit/>
          </a:bodyPr>
          <a:lstStyle/>
          <a:p>
            <a:pPr algn="ctr"/>
            <a:r>
              <a:rPr lang="en-US" sz="2400" b="1" dirty="0">
                <a:solidFill>
                  <a:schemeClr val="bg1"/>
                </a:solidFill>
              </a:rPr>
              <a:t>Toolkits</a:t>
            </a:r>
          </a:p>
        </p:txBody>
      </p:sp>
      <p:grpSp>
        <p:nvGrpSpPr>
          <p:cNvPr id="8" name="Group 7">
            <a:extLst>
              <a:ext uri="{FF2B5EF4-FFF2-40B4-BE49-F238E27FC236}">
                <a16:creationId xmlns:a16="http://schemas.microsoft.com/office/drawing/2014/main" id="{0188DC34-DC84-4531-9361-7EE6DBE30117}"/>
              </a:ext>
            </a:extLst>
          </p:cNvPr>
          <p:cNvGrpSpPr/>
          <p:nvPr/>
        </p:nvGrpSpPr>
        <p:grpSpPr>
          <a:xfrm>
            <a:off x="7424687" y="3174814"/>
            <a:ext cx="462288" cy="356588"/>
            <a:chOff x="737041" y="4275037"/>
            <a:chExt cx="787336" cy="607317"/>
          </a:xfrm>
          <a:solidFill>
            <a:schemeClr val="tx1"/>
          </a:solidFill>
        </p:grpSpPr>
        <p:sp>
          <p:nvSpPr>
            <p:cNvPr id="26" name="Freeform: Shape 25">
              <a:extLst>
                <a:ext uri="{FF2B5EF4-FFF2-40B4-BE49-F238E27FC236}">
                  <a16:creationId xmlns:a16="http://schemas.microsoft.com/office/drawing/2014/main" id="{F0983A5C-DA6D-4A19-A4F8-4A4C8CAA7D0F}"/>
                </a:ext>
              </a:extLst>
            </p:cNvPr>
            <p:cNvSpPr/>
            <p:nvPr/>
          </p:nvSpPr>
          <p:spPr>
            <a:xfrm>
              <a:off x="832290" y="4560785"/>
              <a:ext cx="272986" cy="245251"/>
            </a:xfrm>
            <a:custGeom>
              <a:avLst/>
              <a:gdLst>
                <a:gd name="connsiteX0" fmla="*/ 19050 w 272986"/>
                <a:gd name="connsiteY0" fmla="*/ 304800 h 304800"/>
                <a:gd name="connsiteX1" fmla="*/ 253937 w 272986"/>
                <a:gd name="connsiteY1" fmla="*/ 304800 h 304800"/>
                <a:gd name="connsiteX2" fmla="*/ 272987 w 272986"/>
                <a:gd name="connsiteY2" fmla="*/ 285750 h 304800"/>
                <a:gd name="connsiteX3" fmla="*/ 272987 w 272986"/>
                <a:gd name="connsiteY3" fmla="*/ 19050 h 304800"/>
                <a:gd name="connsiteX4" fmla="*/ 253937 w 272986"/>
                <a:gd name="connsiteY4" fmla="*/ 0 h 304800"/>
                <a:gd name="connsiteX5" fmla="*/ 19050 w 272986"/>
                <a:gd name="connsiteY5" fmla="*/ 0 h 304800"/>
                <a:gd name="connsiteX6" fmla="*/ 0 w 272986"/>
                <a:gd name="connsiteY6" fmla="*/ 19050 h 304800"/>
                <a:gd name="connsiteX7" fmla="*/ 0 w 272986"/>
                <a:gd name="connsiteY7" fmla="*/ 285750 h 304800"/>
                <a:gd name="connsiteX8" fmla="*/ 19050 w 272986"/>
                <a:gd name="connsiteY8" fmla="*/ 304800 h 304800"/>
                <a:gd name="connsiteX9" fmla="*/ 38100 w 272986"/>
                <a:gd name="connsiteY9" fmla="*/ 38100 h 304800"/>
                <a:gd name="connsiteX10" fmla="*/ 234887 w 272986"/>
                <a:gd name="connsiteY10" fmla="*/ 38100 h 304800"/>
                <a:gd name="connsiteX11" fmla="*/ 234887 w 272986"/>
                <a:gd name="connsiteY11" fmla="*/ 266700 h 304800"/>
                <a:gd name="connsiteX12" fmla="*/ 38100 w 272986"/>
                <a:gd name="connsiteY12" fmla="*/ 2667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986" h="304800">
                  <a:moveTo>
                    <a:pt x="19050" y="304800"/>
                  </a:moveTo>
                  <a:lnTo>
                    <a:pt x="253937" y="304800"/>
                  </a:lnTo>
                  <a:cubicBezTo>
                    <a:pt x="264458" y="304800"/>
                    <a:pt x="272987" y="296271"/>
                    <a:pt x="272987" y="285750"/>
                  </a:cubicBezTo>
                  <a:lnTo>
                    <a:pt x="272987" y="19050"/>
                  </a:lnTo>
                  <a:cubicBezTo>
                    <a:pt x="272987" y="8529"/>
                    <a:pt x="264458" y="0"/>
                    <a:pt x="253937" y="0"/>
                  </a:cubicBezTo>
                  <a:lnTo>
                    <a:pt x="19050" y="0"/>
                  </a:lnTo>
                  <a:cubicBezTo>
                    <a:pt x="8529" y="0"/>
                    <a:pt x="0" y="8529"/>
                    <a:pt x="0" y="19050"/>
                  </a:cubicBezTo>
                  <a:lnTo>
                    <a:pt x="0" y="285750"/>
                  </a:lnTo>
                  <a:cubicBezTo>
                    <a:pt x="0" y="296271"/>
                    <a:pt x="8529" y="304800"/>
                    <a:pt x="19050" y="304800"/>
                  </a:cubicBezTo>
                  <a:close/>
                  <a:moveTo>
                    <a:pt x="38100" y="38100"/>
                  </a:moveTo>
                  <a:lnTo>
                    <a:pt x="234887" y="38100"/>
                  </a:lnTo>
                  <a:lnTo>
                    <a:pt x="234887" y="266700"/>
                  </a:lnTo>
                  <a:lnTo>
                    <a:pt x="38100" y="266700"/>
                  </a:lnTo>
                  <a:close/>
                </a:path>
              </a:pathLst>
            </a:custGeom>
            <a:grpFill/>
            <a:ln w="9525" cap="flat">
              <a:noFill/>
              <a:prstDash val="solid"/>
              <a:miter/>
            </a:ln>
          </p:spPr>
          <p:txBody>
            <a:bodyPr rtlCol="0" anchor="ctr"/>
            <a:lstStyle/>
            <a:p>
              <a:endParaRPr lang="en-IN" dirty="0"/>
            </a:p>
          </p:txBody>
        </p:sp>
        <p:sp>
          <p:nvSpPr>
            <p:cNvPr id="27" name="Freeform: Shape 26">
              <a:extLst>
                <a:ext uri="{FF2B5EF4-FFF2-40B4-BE49-F238E27FC236}">
                  <a16:creationId xmlns:a16="http://schemas.microsoft.com/office/drawing/2014/main" id="{BC355FAE-4DC4-40D8-9B80-6301B3C82FC5}"/>
                </a:ext>
              </a:extLst>
            </p:cNvPr>
            <p:cNvSpPr/>
            <p:nvPr/>
          </p:nvSpPr>
          <p:spPr>
            <a:xfrm>
              <a:off x="1156142" y="4560785"/>
              <a:ext cx="272986" cy="245251"/>
            </a:xfrm>
            <a:custGeom>
              <a:avLst/>
              <a:gdLst>
                <a:gd name="connsiteX0" fmla="*/ 253937 w 272986"/>
                <a:gd name="connsiteY0" fmla="*/ 0 h 304800"/>
                <a:gd name="connsiteX1" fmla="*/ 19050 w 272986"/>
                <a:gd name="connsiteY1" fmla="*/ 0 h 304800"/>
                <a:gd name="connsiteX2" fmla="*/ 0 w 272986"/>
                <a:gd name="connsiteY2" fmla="*/ 19050 h 304800"/>
                <a:gd name="connsiteX3" fmla="*/ 0 w 272986"/>
                <a:gd name="connsiteY3" fmla="*/ 285750 h 304800"/>
                <a:gd name="connsiteX4" fmla="*/ 19050 w 272986"/>
                <a:gd name="connsiteY4" fmla="*/ 304800 h 304800"/>
                <a:gd name="connsiteX5" fmla="*/ 253937 w 272986"/>
                <a:gd name="connsiteY5" fmla="*/ 304800 h 304800"/>
                <a:gd name="connsiteX6" fmla="*/ 272987 w 272986"/>
                <a:gd name="connsiteY6" fmla="*/ 285750 h 304800"/>
                <a:gd name="connsiteX7" fmla="*/ 272987 w 272986"/>
                <a:gd name="connsiteY7" fmla="*/ 19050 h 304800"/>
                <a:gd name="connsiteX8" fmla="*/ 253937 w 272986"/>
                <a:gd name="connsiteY8" fmla="*/ 0 h 304800"/>
                <a:gd name="connsiteX9" fmla="*/ 234887 w 272986"/>
                <a:gd name="connsiteY9" fmla="*/ 266700 h 304800"/>
                <a:gd name="connsiteX10" fmla="*/ 38100 w 272986"/>
                <a:gd name="connsiteY10" fmla="*/ 266700 h 304800"/>
                <a:gd name="connsiteX11" fmla="*/ 38100 w 272986"/>
                <a:gd name="connsiteY11" fmla="*/ 38100 h 304800"/>
                <a:gd name="connsiteX12" fmla="*/ 234887 w 272986"/>
                <a:gd name="connsiteY12" fmla="*/ 381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986" h="304800">
                  <a:moveTo>
                    <a:pt x="253937" y="0"/>
                  </a:moveTo>
                  <a:lnTo>
                    <a:pt x="19050" y="0"/>
                  </a:lnTo>
                  <a:cubicBezTo>
                    <a:pt x="8529" y="0"/>
                    <a:pt x="0" y="8529"/>
                    <a:pt x="0" y="19050"/>
                  </a:cubicBezTo>
                  <a:lnTo>
                    <a:pt x="0" y="285750"/>
                  </a:lnTo>
                  <a:cubicBezTo>
                    <a:pt x="0" y="296271"/>
                    <a:pt x="8529" y="304800"/>
                    <a:pt x="19050" y="304800"/>
                  </a:cubicBezTo>
                  <a:lnTo>
                    <a:pt x="253937" y="304800"/>
                  </a:lnTo>
                  <a:cubicBezTo>
                    <a:pt x="264458" y="304800"/>
                    <a:pt x="272987" y="296271"/>
                    <a:pt x="272987" y="285750"/>
                  </a:cubicBezTo>
                  <a:lnTo>
                    <a:pt x="272987" y="19050"/>
                  </a:lnTo>
                  <a:cubicBezTo>
                    <a:pt x="272987" y="8529"/>
                    <a:pt x="264458" y="0"/>
                    <a:pt x="253937" y="0"/>
                  </a:cubicBezTo>
                  <a:close/>
                  <a:moveTo>
                    <a:pt x="234887" y="266700"/>
                  </a:moveTo>
                  <a:lnTo>
                    <a:pt x="38100" y="266700"/>
                  </a:lnTo>
                  <a:lnTo>
                    <a:pt x="38100" y="38100"/>
                  </a:lnTo>
                  <a:lnTo>
                    <a:pt x="234887" y="38100"/>
                  </a:lnTo>
                  <a:close/>
                </a:path>
              </a:pathLst>
            </a:custGeom>
            <a:grpFill/>
            <a:ln w="9525" cap="flat">
              <a:noFill/>
              <a:prstDash val="solid"/>
              <a:miter/>
            </a:ln>
          </p:spPr>
          <p:txBody>
            <a:bodyPr rtlCol="0" anchor="ctr"/>
            <a:lstStyle/>
            <a:p>
              <a:endParaRPr lang="en-IN" dirty="0"/>
            </a:p>
          </p:txBody>
        </p:sp>
        <p:sp>
          <p:nvSpPr>
            <p:cNvPr id="28" name="Freeform: Shape 27">
              <a:extLst>
                <a:ext uri="{FF2B5EF4-FFF2-40B4-BE49-F238E27FC236}">
                  <a16:creationId xmlns:a16="http://schemas.microsoft.com/office/drawing/2014/main" id="{E8E4061B-BFE5-4BE5-A6EB-7B304F1AB509}"/>
                </a:ext>
              </a:extLst>
            </p:cNvPr>
            <p:cNvSpPr/>
            <p:nvPr/>
          </p:nvSpPr>
          <p:spPr>
            <a:xfrm>
              <a:off x="737041" y="4275037"/>
              <a:ext cx="787336" cy="607317"/>
            </a:xfrm>
            <a:custGeom>
              <a:avLst/>
              <a:gdLst>
                <a:gd name="connsiteX0" fmla="*/ 787337 w 787336"/>
                <a:gd name="connsiteY0" fmla="*/ 685800 h 704850"/>
                <a:gd name="connsiteX1" fmla="*/ 787337 w 787336"/>
                <a:gd name="connsiteY1" fmla="*/ 19050 h 704850"/>
                <a:gd name="connsiteX2" fmla="*/ 768287 w 787336"/>
                <a:gd name="connsiteY2" fmla="*/ 0 h 704850"/>
                <a:gd name="connsiteX3" fmla="*/ 19050 w 787336"/>
                <a:gd name="connsiteY3" fmla="*/ 0 h 704850"/>
                <a:gd name="connsiteX4" fmla="*/ 0 w 787336"/>
                <a:gd name="connsiteY4" fmla="*/ 19050 h 704850"/>
                <a:gd name="connsiteX5" fmla="*/ 0 w 787336"/>
                <a:gd name="connsiteY5" fmla="*/ 685800 h 704850"/>
                <a:gd name="connsiteX6" fmla="*/ 19050 w 787336"/>
                <a:gd name="connsiteY6" fmla="*/ 704850 h 704850"/>
                <a:gd name="connsiteX7" fmla="*/ 768287 w 787336"/>
                <a:gd name="connsiteY7" fmla="*/ 704850 h 704850"/>
                <a:gd name="connsiteX8" fmla="*/ 787337 w 787336"/>
                <a:gd name="connsiteY8" fmla="*/ 685800 h 704850"/>
                <a:gd name="connsiteX9" fmla="*/ 749237 w 787336"/>
                <a:gd name="connsiteY9" fmla="*/ 666750 h 704850"/>
                <a:gd name="connsiteX10" fmla="*/ 38100 w 787336"/>
                <a:gd name="connsiteY10" fmla="*/ 666750 h 704850"/>
                <a:gd name="connsiteX11" fmla="*/ 38100 w 787336"/>
                <a:gd name="connsiteY11" fmla="*/ 38100 h 704850"/>
                <a:gd name="connsiteX12" fmla="*/ 749237 w 787336"/>
                <a:gd name="connsiteY12" fmla="*/ 38100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7336" h="704850">
                  <a:moveTo>
                    <a:pt x="787337" y="685800"/>
                  </a:moveTo>
                  <a:lnTo>
                    <a:pt x="787337" y="19050"/>
                  </a:lnTo>
                  <a:cubicBezTo>
                    <a:pt x="787337" y="8529"/>
                    <a:pt x="778808" y="0"/>
                    <a:pt x="768287" y="0"/>
                  </a:cubicBezTo>
                  <a:lnTo>
                    <a:pt x="19050" y="0"/>
                  </a:lnTo>
                  <a:cubicBezTo>
                    <a:pt x="8529" y="0"/>
                    <a:pt x="0" y="8529"/>
                    <a:pt x="0" y="19050"/>
                  </a:cubicBezTo>
                  <a:lnTo>
                    <a:pt x="0" y="685800"/>
                  </a:lnTo>
                  <a:cubicBezTo>
                    <a:pt x="0" y="696321"/>
                    <a:pt x="8529" y="704850"/>
                    <a:pt x="19050" y="704850"/>
                  </a:cubicBezTo>
                  <a:lnTo>
                    <a:pt x="768287" y="704850"/>
                  </a:lnTo>
                  <a:cubicBezTo>
                    <a:pt x="778808" y="704850"/>
                    <a:pt x="787337" y="696321"/>
                    <a:pt x="787337" y="685800"/>
                  </a:cubicBezTo>
                  <a:close/>
                  <a:moveTo>
                    <a:pt x="749237" y="666750"/>
                  </a:moveTo>
                  <a:lnTo>
                    <a:pt x="38100" y="666750"/>
                  </a:lnTo>
                  <a:lnTo>
                    <a:pt x="38100" y="38100"/>
                  </a:lnTo>
                  <a:lnTo>
                    <a:pt x="749237" y="38100"/>
                  </a:lnTo>
                  <a:close/>
                </a:path>
              </a:pathLst>
            </a:custGeom>
            <a:grpFill/>
            <a:ln w="9525" cap="flat">
              <a:noFill/>
              <a:prstDash val="solid"/>
              <a:miter/>
            </a:ln>
          </p:spPr>
          <p:txBody>
            <a:bodyPr rtlCol="0" anchor="ctr"/>
            <a:lstStyle/>
            <a:p>
              <a:endParaRPr lang="en-IN" dirty="0"/>
            </a:p>
          </p:txBody>
        </p:sp>
      </p:grpSp>
      <p:pic>
        <p:nvPicPr>
          <p:cNvPr id="11" name="Graphic 10" descr="Group brainstorm">
            <a:extLst>
              <a:ext uri="{FF2B5EF4-FFF2-40B4-BE49-F238E27FC236}">
                <a16:creationId xmlns:a16="http://schemas.microsoft.com/office/drawing/2014/main" id="{EE00A8D8-81F4-460B-A158-5B4C9CB8F30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90759" y="3375565"/>
            <a:ext cx="890551" cy="890550"/>
          </a:xfrm>
          <a:custGeom>
            <a:avLst/>
            <a:gdLst>
              <a:gd name="connsiteX0" fmla="*/ 0 w 1066800"/>
              <a:gd name="connsiteY0" fmla="*/ 0 h 1082162"/>
              <a:gd name="connsiteX1" fmla="*/ 1066800 w 1066800"/>
              <a:gd name="connsiteY1" fmla="*/ 0 h 1082162"/>
              <a:gd name="connsiteX2" fmla="*/ 1066800 w 1066800"/>
              <a:gd name="connsiteY2" fmla="*/ 1082162 h 1082162"/>
              <a:gd name="connsiteX3" fmla="*/ 0 w 1066800"/>
              <a:gd name="connsiteY3" fmla="*/ 1082162 h 1082162"/>
            </a:gdLst>
            <a:ahLst/>
            <a:cxnLst>
              <a:cxn ang="0">
                <a:pos x="connsiteX0" y="connsiteY0"/>
              </a:cxn>
              <a:cxn ang="0">
                <a:pos x="connsiteX1" y="connsiteY1"/>
              </a:cxn>
              <a:cxn ang="0">
                <a:pos x="connsiteX2" y="connsiteY2"/>
              </a:cxn>
              <a:cxn ang="0">
                <a:pos x="connsiteX3" y="connsiteY3"/>
              </a:cxn>
            </a:cxnLst>
            <a:rect l="l" t="t" r="r" b="b"/>
            <a:pathLst>
              <a:path w="1066800" h="1082162">
                <a:moveTo>
                  <a:pt x="0" y="0"/>
                </a:moveTo>
                <a:lnTo>
                  <a:pt x="1066800" y="0"/>
                </a:lnTo>
                <a:lnTo>
                  <a:pt x="1066800" y="1082162"/>
                </a:lnTo>
                <a:lnTo>
                  <a:pt x="0" y="1082162"/>
                </a:lnTo>
                <a:close/>
              </a:path>
            </a:pathLst>
          </a:custGeom>
        </p:spPr>
      </p:pic>
      <p:sp>
        <p:nvSpPr>
          <p:cNvPr id="12" name="TextBox 11">
            <a:extLst>
              <a:ext uri="{FF2B5EF4-FFF2-40B4-BE49-F238E27FC236}">
                <a16:creationId xmlns:a16="http://schemas.microsoft.com/office/drawing/2014/main" id="{4E84A470-6C4B-40C8-B53E-6822FCB61FC9}"/>
              </a:ext>
            </a:extLst>
          </p:cNvPr>
          <p:cNvSpPr txBox="1"/>
          <p:nvPr/>
        </p:nvSpPr>
        <p:spPr>
          <a:xfrm>
            <a:off x="6618990" y="1586092"/>
            <a:ext cx="524624" cy="269774"/>
          </a:xfrm>
          <a:prstGeom prst="rect">
            <a:avLst/>
          </a:prstGeom>
          <a:noFill/>
        </p:spPr>
        <p:txBody>
          <a:bodyPr wrap="none" lIns="0" tIns="0" rIns="0" bIns="0" rtlCol="0">
            <a:spAutoFit/>
          </a:bodyPr>
          <a:lstStyle/>
          <a:p>
            <a:pPr algn="ctr"/>
            <a:r>
              <a:rPr lang="en-US" dirty="0">
                <a:solidFill>
                  <a:schemeClr val="tx2"/>
                </a:solidFill>
              </a:rPr>
              <a:t>Tools</a:t>
            </a:r>
          </a:p>
        </p:txBody>
      </p:sp>
      <p:sp>
        <p:nvSpPr>
          <p:cNvPr id="13" name="TextBox 12">
            <a:extLst>
              <a:ext uri="{FF2B5EF4-FFF2-40B4-BE49-F238E27FC236}">
                <a16:creationId xmlns:a16="http://schemas.microsoft.com/office/drawing/2014/main" id="{4F3837BE-1F1E-49E3-B5E5-3BD60AD0E8C5}"/>
              </a:ext>
            </a:extLst>
          </p:cNvPr>
          <p:cNvSpPr txBox="1"/>
          <p:nvPr/>
        </p:nvSpPr>
        <p:spPr>
          <a:xfrm>
            <a:off x="8093073" y="2713740"/>
            <a:ext cx="1024205" cy="269774"/>
          </a:xfrm>
          <a:prstGeom prst="rect">
            <a:avLst/>
          </a:prstGeom>
          <a:noFill/>
        </p:spPr>
        <p:txBody>
          <a:bodyPr wrap="none" lIns="0" tIns="0" rIns="0" bIns="0" rtlCol="0">
            <a:spAutoFit/>
          </a:bodyPr>
          <a:lstStyle/>
          <a:p>
            <a:pPr algn="ctr"/>
            <a:r>
              <a:rPr lang="en-US" dirty="0">
                <a:solidFill>
                  <a:schemeClr val="tx2"/>
                </a:solidFill>
              </a:rPr>
              <a:t>Templates</a:t>
            </a:r>
          </a:p>
        </p:txBody>
      </p:sp>
      <p:sp>
        <p:nvSpPr>
          <p:cNvPr id="14" name="TextBox 13">
            <a:extLst>
              <a:ext uri="{FF2B5EF4-FFF2-40B4-BE49-F238E27FC236}">
                <a16:creationId xmlns:a16="http://schemas.microsoft.com/office/drawing/2014/main" id="{B32B7569-5276-4D96-B98C-2CD2A8E43B5D}"/>
              </a:ext>
            </a:extLst>
          </p:cNvPr>
          <p:cNvSpPr txBox="1"/>
          <p:nvPr/>
        </p:nvSpPr>
        <p:spPr>
          <a:xfrm>
            <a:off x="8241782" y="4782185"/>
            <a:ext cx="2185734" cy="269774"/>
          </a:xfrm>
          <a:prstGeom prst="rect">
            <a:avLst/>
          </a:prstGeom>
          <a:noFill/>
        </p:spPr>
        <p:txBody>
          <a:bodyPr wrap="none" lIns="0" tIns="0" rIns="0" bIns="0" rtlCol="0">
            <a:spAutoFit/>
          </a:bodyPr>
          <a:lstStyle/>
          <a:p>
            <a:pPr algn="ctr"/>
            <a:r>
              <a:rPr lang="en-US" dirty="0">
                <a:solidFill>
                  <a:schemeClr val="tx2"/>
                </a:solidFill>
              </a:rPr>
              <a:t>Step-by-step Tutorials</a:t>
            </a:r>
          </a:p>
        </p:txBody>
      </p:sp>
      <p:sp>
        <p:nvSpPr>
          <p:cNvPr id="15" name="TextBox 14">
            <a:extLst>
              <a:ext uri="{FF2B5EF4-FFF2-40B4-BE49-F238E27FC236}">
                <a16:creationId xmlns:a16="http://schemas.microsoft.com/office/drawing/2014/main" id="{1677108B-55E9-4C3B-A90C-594D6A366251}"/>
              </a:ext>
            </a:extLst>
          </p:cNvPr>
          <p:cNvSpPr txBox="1"/>
          <p:nvPr/>
        </p:nvSpPr>
        <p:spPr>
          <a:xfrm>
            <a:off x="6458985" y="6248267"/>
            <a:ext cx="1873433" cy="269774"/>
          </a:xfrm>
          <a:prstGeom prst="rect">
            <a:avLst/>
          </a:prstGeom>
          <a:noFill/>
        </p:spPr>
        <p:txBody>
          <a:bodyPr wrap="none" lIns="0" tIns="0" rIns="0" bIns="0" rtlCol="0">
            <a:spAutoFit/>
          </a:bodyPr>
          <a:lstStyle/>
          <a:p>
            <a:pPr algn="ctr"/>
            <a:r>
              <a:rPr lang="en-US" dirty="0">
                <a:solidFill>
                  <a:schemeClr val="tx2"/>
                </a:solidFill>
              </a:rPr>
              <a:t>Real-life Examples</a:t>
            </a:r>
          </a:p>
        </p:txBody>
      </p:sp>
      <p:sp>
        <p:nvSpPr>
          <p:cNvPr id="16" name="TextBox 15">
            <a:extLst>
              <a:ext uri="{FF2B5EF4-FFF2-40B4-BE49-F238E27FC236}">
                <a16:creationId xmlns:a16="http://schemas.microsoft.com/office/drawing/2014/main" id="{BAF90732-5826-4D06-A367-5F6DEC13809F}"/>
              </a:ext>
            </a:extLst>
          </p:cNvPr>
          <p:cNvSpPr txBox="1"/>
          <p:nvPr/>
        </p:nvSpPr>
        <p:spPr>
          <a:xfrm>
            <a:off x="3123525" y="5864268"/>
            <a:ext cx="1436298" cy="269774"/>
          </a:xfrm>
          <a:prstGeom prst="rect">
            <a:avLst/>
          </a:prstGeom>
          <a:noFill/>
        </p:spPr>
        <p:txBody>
          <a:bodyPr wrap="none" lIns="0" tIns="0" rIns="0" bIns="0" rtlCol="0">
            <a:spAutoFit/>
          </a:bodyPr>
          <a:lstStyle/>
          <a:p>
            <a:pPr algn="ctr"/>
            <a:r>
              <a:rPr lang="en-US" dirty="0">
                <a:solidFill>
                  <a:schemeClr val="tx2"/>
                </a:solidFill>
              </a:rPr>
              <a:t>Best Practices</a:t>
            </a:r>
          </a:p>
        </p:txBody>
      </p:sp>
      <p:sp>
        <p:nvSpPr>
          <p:cNvPr id="17" name="TextBox 16">
            <a:extLst>
              <a:ext uri="{FF2B5EF4-FFF2-40B4-BE49-F238E27FC236}">
                <a16:creationId xmlns:a16="http://schemas.microsoft.com/office/drawing/2014/main" id="{9A2539D3-2110-43F4-93AB-6E96BA60AD3B}"/>
              </a:ext>
            </a:extLst>
          </p:cNvPr>
          <p:cNvSpPr txBox="1"/>
          <p:nvPr/>
        </p:nvSpPr>
        <p:spPr>
          <a:xfrm>
            <a:off x="1020158" y="3839023"/>
            <a:ext cx="2665876" cy="539548"/>
          </a:xfrm>
          <a:prstGeom prst="rect">
            <a:avLst/>
          </a:prstGeom>
          <a:noFill/>
        </p:spPr>
        <p:txBody>
          <a:bodyPr wrap="square" lIns="0" tIns="0" rIns="0" bIns="0" rtlCol="0">
            <a:spAutoFit/>
          </a:bodyPr>
          <a:lstStyle/>
          <a:p>
            <a:pPr algn="r"/>
            <a:r>
              <a:rPr lang="en-US" dirty="0">
                <a:solidFill>
                  <a:schemeClr val="tx2"/>
                </a:solidFill>
              </a:rPr>
              <a:t>Support from Tier-1 Management Consultants</a:t>
            </a:r>
          </a:p>
        </p:txBody>
      </p:sp>
      <p:sp>
        <p:nvSpPr>
          <p:cNvPr id="18" name="TextBox 17">
            <a:extLst>
              <a:ext uri="{FF2B5EF4-FFF2-40B4-BE49-F238E27FC236}">
                <a16:creationId xmlns:a16="http://schemas.microsoft.com/office/drawing/2014/main" id="{0010F217-A4DD-41D6-A586-2AD6D901F0B6}"/>
              </a:ext>
            </a:extLst>
          </p:cNvPr>
          <p:cNvSpPr txBox="1"/>
          <p:nvPr/>
        </p:nvSpPr>
        <p:spPr>
          <a:xfrm>
            <a:off x="3291982" y="1979982"/>
            <a:ext cx="1236465" cy="269774"/>
          </a:xfrm>
          <a:prstGeom prst="rect">
            <a:avLst/>
          </a:prstGeom>
          <a:noFill/>
        </p:spPr>
        <p:txBody>
          <a:bodyPr wrap="none" lIns="0" tIns="0" rIns="0" bIns="0" rtlCol="0">
            <a:spAutoFit/>
          </a:bodyPr>
          <a:lstStyle/>
          <a:p>
            <a:pPr algn="ctr"/>
            <a:r>
              <a:rPr lang="en-US" dirty="0">
                <a:solidFill>
                  <a:schemeClr val="tx2"/>
                </a:solidFill>
              </a:rPr>
              <a:t>Frameworks</a:t>
            </a:r>
          </a:p>
        </p:txBody>
      </p:sp>
      <p:pic>
        <p:nvPicPr>
          <p:cNvPr id="19" name="Graphic 18" descr="Teacher">
            <a:extLst>
              <a:ext uri="{FF2B5EF4-FFF2-40B4-BE49-F238E27FC236}">
                <a16:creationId xmlns:a16="http://schemas.microsoft.com/office/drawing/2014/main" id="{9768AC58-176C-49FD-BC23-41D5F1BBF0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6166" y="4526759"/>
            <a:ext cx="590213" cy="590213"/>
          </a:xfrm>
          <a:prstGeom prst="rect">
            <a:avLst/>
          </a:prstGeom>
        </p:spPr>
      </p:pic>
      <p:pic>
        <p:nvPicPr>
          <p:cNvPr id="20" name="Graphic 19" descr="Tools">
            <a:extLst>
              <a:ext uri="{FF2B5EF4-FFF2-40B4-BE49-F238E27FC236}">
                <a16:creationId xmlns:a16="http://schemas.microsoft.com/office/drawing/2014/main" id="{22C33A11-188B-439B-B118-80C881B17BF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63177" y="2132105"/>
            <a:ext cx="524624" cy="524624"/>
          </a:xfrm>
          <a:prstGeom prst="rect">
            <a:avLst/>
          </a:prstGeom>
        </p:spPr>
      </p:pic>
      <p:pic>
        <p:nvPicPr>
          <p:cNvPr id="21" name="Graphic 20" descr="Arrow circle">
            <a:extLst>
              <a:ext uri="{FF2B5EF4-FFF2-40B4-BE49-F238E27FC236}">
                <a16:creationId xmlns:a16="http://schemas.microsoft.com/office/drawing/2014/main" id="{08220510-1E25-4280-996A-FBBA580FFC6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635354" y="2168588"/>
            <a:ext cx="890551" cy="890550"/>
          </a:xfrm>
          <a:prstGeom prst="rect">
            <a:avLst/>
          </a:prstGeom>
        </p:spPr>
      </p:pic>
      <p:pic>
        <p:nvPicPr>
          <p:cNvPr id="5" name="Graphic 4" descr="Podium">
            <a:extLst>
              <a:ext uri="{FF2B5EF4-FFF2-40B4-BE49-F238E27FC236}">
                <a16:creationId xmlns:a16="http://schemas.microsoft.com/office/drawing/2014/main" id="{1D3D7346-5217-439D-AD9D-98AA16F0888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653978" y="4838620"/>
            <a:ext cx="581415" cy="581415"/>
          </a:xfrm>
          <a:prstGeom prst="rect">
            <a:avLst/>
          </a:prstGeom>
        </p:spPr>
      </p:pic>
      <p:pic>
        <p:nvPicPr>
          <p:cNvPr id="48" name="Graphic 47" descr="Presentation with bar chart RTL">
            <a:extLst>
              <a:ext uri="{FF2B5EF4-FFF2-40B4-BE49-F238E27FC236}">
                <a16:creationId xmlns:a16="http://schemas.microsoft.com/office/drawing/2014/main" id="{D01A9A22-7113-4408-9CBF-FD00449D8DB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011791" y="5296546"/>
            <a:ext cx="673608" cy="673608"/>
          </a:xfrm>
          <a:prstGeom prst="rect">
            <a:avLst/>
          </a:prstGeom>
        </p:spPr>
      </p:pic>
      <p:sp>
        <p:nvSpPr>
          <p:cNvPr id="50" name="Rectangle 49">
            <a:extLst>
              <a:ext uri="{FF2B5EF4-FFF2-40B4-BE49-F238E27FC236}">
                <a16:creationId xmlns:a16="http://schemas.microsoft.com/office/drawing/2014/main" id="{60B3F3FF-1E48-4CB7-8B8E-E4F39D85658E}"/>
              </a:ext>
            </a:extLst>
          </p:cNvPr>
          <p:cNvSpPr/>
          <p:nvPr/>
        </p:nvSpPr>
        <p:spPr>
          <a:xfrm>
            <a:off x="7493831" y="3241860"/>
            <a:ext cx="324000" cy="54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Tree>
    <p:extLst>
      <p:ext uri="{BB962C8B-B14F-4D97-AF65-F5344CB8AC3E}">
        <p14:creationId xmlns:p14="http://schemas.microsoft.com/office/powerpoint/2010/main" val="30280919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D01E70-F8C7-493C-AEDD-E5492D344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7" name="Object 6" hidden="1">
                        <a:extLst>
                          <a:ext uri="{FF2B5EF4-FFF2-40B4-BE49-F238E27FC236}">
                            <a16:creationId xmlns:a16="http://schemas.microsoft.com/office/drawing/2014/main" id="{BBD01E70-F8C7-493C-AEDD-E5492D344E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A098EA-8CD1-417F-A724-88393CE4575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2" name="Picture 11">
            <a:hlinkClick r:id="rId7"/>
            <a:extLst>
              <a:ext uri="{FF2B5EF4-FFF2-40B4-BE49-F238E27FC236}">
                <a16:creationId xmlns:a16="http://schemas.microsoft.com/office/drawing/2014/main" id="{C0EC32D3-CE1C-48E3-89F2-1AFBF8A9B34F}"/>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79576" y="1676401"/>
            <a:ext cx="6232848" cy="3505200"/>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200" dirty="0">
                <a:sym typeface="Arial" panose="020B0604020202020204" pitchFamily="34" charset="0"/>
              </a:rPr>
              <a:t>Interested in more than 1 Toolkit? You can access to all our Toolkits for </a:t>
            </a:r>
            <a:r>
              <a:rPr lang="en-US" sz="2200" u="sng" dirty="0">
                <a:sym typeface="Arial" panose="020B0604020202020204" pitchFamily="34" charset="0"/>
              </a:rPr>
              <a:t>half the price</a:t>
            </a:r>
            <a:r>
              <a:rPr lang="en-US" sz="2200" dirty="0">
                <a:sym typeface="Arial" panose="020B0604020202020204" pitchFamily="34" charset="0"/>
              </a:rPr>
              <a:t> with the Gold Business &amp; Consulting Package</a:t>
            </a:r>
          </a:p>
        </p:txBody>
      </p:sp>
      <p:sp>
        <p:nvSpPr>
          <p:cNvPr id="4" name="TextBox 3">
            <a:hlinkClick r:id="rId9"/>
            <a:extLst>
              <a:ext uri="{FF2B5EF4-FFF2-40B4-BE49-F238E27FC236}">
                <a16:creationId xmlns:a16="http://schemas.microsoft.com/office/drawing/2014/main" id="{1BC1B3F3-AD3B-48B8-9C10-684287D0D20A}"/>
              </a:ext>
            </a:extLst>
          </p:cNvPr>
          <p:cNvSpPr txBox="1"/>
          <p:nvPr/>
        </p:nvSpPr>
        <p:spPr>
          <a:xfrm>
            <a:off x="3717338" y="6167298"/>
            <a:ext cx="4800600" cy="338554"/>
          </a:xfrm>
          <a:prstGeom prst="rect">
            <a:avLst/>
          </a:prstGeom>
          <a:noFill/>
        </p:spPr>
        <p:txBody>
          <a:bodyPr wrap="square" rtlCol="0">
            <a:spAutoFit/>
          </a:bodyPr>
          <a:lstStyle/>
          <a:p>
            <a:pPr algn="ctr"/>
            <a:r>
              <a:rPr lang="en-US" sz="1600" dirty="0">
                <a:hlinkClick r:id="rId10"/>
              </a:rPr>
              <a:t>www.slidebooks.com</a:t>
            </a:r>
            <a:endParaRPr lang="en-US" sz="1600" dirty="0"/>
          </a:p>
        </p:txBody>
      </p:sp>
      <p:sp>
        <p:nvSpPr>
          <p:cNvPr id="10" name="Title 1">
            <a:extLst>
              <a:ext uri="{FF2B5EF4-FFF2-40B4-BE49-F238E27FC236}">
                <a16:creationId xmlns:a16="http://schemas.microsoft.com/office/drawing/2014/main" id="{45724769-7F7A-49A0-978E-58661220D668}"/>
              </a:ext>
            </a:extLst>
          </p:cNvPr>
          <p:cNvSpPr txBox="1">
            <a:spLocks/>
          </p:cNvSpPr>
          <p:nvPr/>
        </p:nvSpPr>
        <p:spPr>
          <a:xfrm>
            <a:off x="3718927" y="5354978"/>
            <a:ext cx="4797423" cy="423802"/>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1800" kern="0" dirty="0"/>
              <a:t>Gold Business &amp; Consulting Package</a:t>
            </a:r>
          </a:p>
        </p:txBody>
      </p:sp>
      <p:sp>
        <p:nvSpPr>
          <p:cNvPr id="11" name="Rectangle: Rounded Corners 10">
            <a:hlinkClick r:id="rId11"/>
            <a:extLst>
              <a:ext uri="{FF2B5EF4-FFF2-40B4-BE49-F238E27FC236}">
                <a16:creationId xmlns:a16="http://schemas.microsoft.com/office/drawing/2014/main" id="{523DBC1D-DD8D-4DA5-94CC-277FB53AA1DE}"/>
              </a:ext>
            </a:extLst>
          </p:cNvPr>
          <p:cNvSpPr/>
          <p:nvPr/>
        </p:nvSpPr>
        <p:spPr bwMode="auto">
          <a:xfrm>
            <a:off x="5323400" y="5812764"/>
            <a:ext cx="1588476" cy="331198"/>
          </a:xfrm>
          <a:prstGeom prst="roundRect">
            <a:avLst>
              <a:gd name="adj" fmla="val 19468"/>
            </a:avLst>
          </a:prstGeom>
          <a:solidFill>
            <a:srgbClr val="3EA9F5"/>
          </a:solidFill>
          <a:ln>
            <a:noFill/>
          </a:ln>
        </p:spPr>
        <p:txBody>
          <a:bodyPr wrap="square" lIns="91428" tIns="365760" rIns="91428" bIns="91440" rtlCol="0" anchor="ctr">
            <a:noAutofit/>
          </a:bodyPr>
          <a:lstStyle/>
          <a:p>
            <a:pPr algn="ctr" defTabSz="623853" rtl="0" fontAlgn="base">
              <a:lnSpc>
                <a:spcPts val="1100"/>
              </a:lnSpc>
              <a:spcBef>
                <a:spcPct val="0"/>
              </a:spcBef>
              <a:spcAft>
                <a:spcPct val="0"/>
              </a:spcAft>
              <a:buClr>
                <a:srgbClr val="000000"/>
              </a:buClr>
            </a:pPr>
            <a:endParaRPr lang="en-US" sz="2000" b="1" kern="1200" dirty="0">
              <a:solidFill>
                <a:schemeClr val="bg1"/>
              </a:solidFill>
              <a:latin typeface="Arial" charset="0"/>
              <a:ea typeface="+mn-ea"/>
              <a:cs typeface="Times New Roman" pitchFamily="18" charset="0"/>
            </a:endParaRPr>
          </a:p>
        </p:txBody>
      </p:sp>
      <p:sp>
        <p:nvSpPr>
          <p:cNvPr id="13" name="TextBox 12">
            <a:hlinkClick r:id="rId12"/>
            <a:extLst>
              <a:ext uri="{FF2B5EF4-FFF2-40B4-BE49-F238E27FC236}">
                <a16:creationId xmlns:a16="http://schemas.microsoft.com/office/drawing/2014/main" id="{9323C349-62E8-4FBD-AB14-A96D3D6D8849}"/>
              </a:ext>
            </a:extLst>
          </p:cNvPr>
          <p:cNvSpPr txBox="1"/>
          <p:nvPr/>
        </p:nvSpPr>
        <p:spPr>
          <a:xfrm>
            <a:off x="5323400" y="5789428"/>
            <a:ext cx="1588476" cy="369332"/>
          </a:xfrm>
          <a:prstGeom prst="rect">
            <a:avLst/>
          </a:prstGeom>
          <a:noFill/>
        </p:spPr>
        <p:txBody>
          <a:bodyPr wrap="square" rtlCol="0">
            <a:spAutoFit/>
          </a:bodyPr>
          <a:lstStyle/>
          <a:p>
            <a:pPr algn="ctr"/>
            <a:r>
              <a:rPr lang="en-US" b="1" dirty="0">
                <a:solidFill>
                  <a:schemeClr val="bg1"/>
                </a:solidFill>
                <a:latin typeface="Arial" charset="0"/>
                <a:cs typeface="Times New Roman" pitchFamily="18" charset="0"/>
              </a:rPr>
              <a:t>Learn More</a:t>
            </a:r>
            <a:endParaRPr lang="en-US" dirty="0"/>
          </a:p>
        </p:txBody>
      </p:sp>
      <p:sp>
        <p:nvSpPr>
          <p:cNvPr id="6" name="Slide Number Placeholder 5">
            <a:extLst>
              <a:ext uri="{FF2B5EF4-FFF2-40B4-BE49-F238E27FC236}">
                <a16:creationId xmlns:a16="http://schemas.microsoft.com/office/drawing/2014/main" id="{DE0F4260-85F5-47B2-8F90-716F6604029A}"/>
              </a:ext>
            </a:extLst>
          </p:cNvPr>
          <p:cNvSpPr>
            <a:spLocks noGrp="1"/>
          </p:cNvSpPr>
          <p:nvPr>
            <p:ph type="sldNum" sz="quarter" idx="4"/>
          </p:nvPr>
        </p:nvSpPr>
        <p:spPr/>
        <p:txBody>
          <a:bodyPr/>
          <a:lstStyle/>
          <a:p>
            <a:fld id="{37F5C94B-8C55-478B-B509-BAE6A06B2E2A}" type="slidenum">
              <a:rPr lang="en-US" sz="900" smtClean="0">
                <a:solidFill>
                  <a:srgbClr val="ADAFBB"/>
                </a:solidFill>
              </a:rPr>
              <a:pPr/>
              <a:t>11</a:t>
            </a:fld>
            <a:endParaRPr lang="en-US" sz="900" dirty="0">
              <a:solidFill>
                <a:srgbClr val="ADAFBB"/>
              </a:solidFill>
            </a:endParaRPr>
          </a:p>
        </p:txBody>
      </p:sp>
    </p:spTree>
    <p:extLst>
      <p:ext uri="{BB962C8B-B14F-4D97-AF65-F5344CB8AC3E}">
        <p14:creationId xmlns:p14="http://schemas.microsoft.com/office/powerpoint/2010/main" val="17545858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4BA662-CDE2-4A20-B082-F06179C98F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EA4BA662-CDE2-4A20-B082-F06179C98F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088ED2B-BEA3-4D03-95DE-285838A9FD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Need more help? </a:t>
            </a:r>
            <a:br>
              <a:rPr lang="en-US" sz="2400" dirty="0">
                <a:latin typeface="+mn-lt"/>
              </a:rPr>
            </a:br>
            <a:r>
              <a:rPr lang="en-US" sz="2400" dirty="0">
                <a:latin typeface="+mn-lt"/>
              </a:rPr>
              <a:t>Hire one of our Management Consultants for $4,000 a day</a:t>
            </a:r>
          </a:p>
        </p:txBody>
      </p:sp>
      <p:sp>
        <p:nvSpPr>
          <p:cNvPr id="7" name="Rectangle: Rounded Corners 6">
            <a:hlinkClick r:id="rId7"/>
            <a:extLst>
              <a:ext uri="{FF2B5EF4-FFF2-40B4-BE49-F238E27FC236}">
                <a16:creationId xmlns:a16="http://schemas.microsoft.com/office/drawing/2014/main" id="{FCF3B6F5-0780-4160-979E-CDC4B2E2F5EC}"/>
              </a:ext>
            </a:extLst>
          </p:cNvPr>
          <p:cNvSpPr/>
          <p:nvPr/>
        </p:nvSpPr>
        <p:spPr bwMode="auto">
          <a:xfrm>
            <a:off x="4747260" y="6237747"/>
            <a:ext cx="2697480" cy="255127"/>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144000" rIns="91428" bIns="91440" rtlCol="0" anchor="ctr">
            <a:noAutofit/>
          </a:bodyPr>
          <a:lstStyle/>
          <a:p>
            <a:pPr algn="ctr" defTabSz="623853" rtl="0" fontAlgn="base">
              <a:lnSpc>
                <a:spcPts val="1100"/>
              </a:lnSpc>
              <a:spcBef>
                <a:spcPct val="0"/>
              </a:spcBef>
              <a:spcAft>
                <a:spcPct val="0"/>
              </a:spcAft>
              <a:buClr>
                <a:srgbClr val="000000"/>
              </a:buClr>
            </a:pPr>
            <a:r>
              <a:rPr lang="en-US" sz="1100" b="1" kern="1200" dirty="0">
                <a:solidFill>
                  <a:schemeClr val="bg1"/>
                </a:solidFill>
                <a:latin typeface="Arial" charset="0"/>
                <a:ea typeface="+mn-ea"/>
                <a:cs typeface="Times New Roman" pitchFamily="18" charset="0"/>
              </a:rPr>
              <a:t>See more Management Consultants</a:t>
            </a:r>
          </a:p>
        </p:txBody>
      </p:sp>
      <p:sp>
        <p:nvSpPr>
          <p:cNvPr id="21" name="Rectangle 20">
            <a:extLst>
              <a:ext uri="{FF2B5EF4-FFF2-40B4-BE49-F238E27FC236}">
                <a16:creationId xmlns:a16="http://schemas.microsoft.com/office/drawing/2014/main" id="{E8DAB30E-4A95-4189-A17B-D6BED1B10135}"/>
              </a:ext>
            </a:extLst>
          </p:cNvPr>
          <p:cNvSpPr/>
          <p:nvPr/>
        </p:nvSpPr>
        <p:spPr>
          <a:xfrm>
            <a:off x="4999118"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461FCE6B-D7D6-49AF-83FE-4C16649B34CE}"/>
              </a:ext>
            </a:extLst>
          </p:cNvPr>
          <p:cNvSpPr>
            <a:spLocks noGrp="1"/>
          </p:cNvSpPr>
          <p:nvPr>
            <p:ph type="sldNum" sz="quarter" idx="4"/>
          </p:nvPr>
        </p:nvSpPr>
        <p:spPr/>
        <p:txBody>
          <a:bodyPr/>
          <a:lstStyle/>
          <a:p>
            <a:fld id="{37F5C94B-8C55-478B-B509-BAE6A06B2E2A}" type="slidenum">
              <a:rPr lang="en-US" sz="900" smtClean="0">
                <a:solidFill>
                  <a:srgbClr val="ADAFBB"/>
                </a:solidFill>
              </a:rPr>
              <a:pPr/>
              <a:t>12</a:t>
            </a:fld>
            <a:endParaRPr lang="en-US" sz="1000" dirty="0">
              <a:solidFill>
                <a:srgbClr val="ADAFBB"/>
              </a:solidFill>
            </a:endParaRPr>
          </a:p>
        </p:txBody>
      </p:sp>
      <p:pic>
        <p:nvPicPr>
          <p:cNvPr id="3" name="Picture 2">
            <a:extLst>
              <a:ext uri="{FF2B5EF4-FFF2-40B4-BE49-F238E27FC236}">
                <a16:creationId xmlns:a16="http://schemas.microsoft.com/office/drawing/2014/main" id="{AEEF938F-2129-4F84-94B1-303BB45503CC}"/>
              </a:ext>
            </a:extLst>
          </p:cNvPr>
          <p:cNvPicPr>
            <a:picLocks noChangeAspect="1"/>
          </p:cNvPicPr>
          <p:nvPr/>
        </p:nvPicPr>
        <p:blipFill>
          <a:blip r:embed="rId8"/>
          <a:stretch>
            <a:fillRect/>
          </a:stretch>
        </p:blipFill>
        <p:spPr>
          <a:xfrm>
            <a:off x="1232570" y="3925909"/>
            <a:ext cx="2890495" cy="2160000"/>
          </a:xfrm>
          <a:prstGeom prst="rect">
            <a:avLst/>
          </a:prstGeom>
        </p:spPr>
      </p:pic>
      <p:pic>
        <p:nvPicPr>
          <p:cNvPr id="8" name="Picture 7">
            <a:extLst>
              <a:ext uri="{FF2B5EF4-FFF2-40B4-BE49-F238E27FC236}">
                <a16:creationId xmlns:a16="http://schemas.microsoft.com/office/drawing/2014/main" id="{94D8B643-962B-4B95-AC94-B56CB498EFA7}"/>
              </a:ext>
            </a:extLst>
          </p:cNvPr>
          <p:cNvPicPr>
            <a:picLocks noChangeAspect="1"/>
          </p:cNvPicPr>
          <p:nvPr/>
        </p:nvPicPr>
        <p:blipFill>
          <a:blip r:embed="rId9"/>
          <a:stretch>
            <a:fillRect/>
          </a:stretch>
        </p:blipFill>
        <p:spPr>
          <a:xfrm>
            <a:off x="1243065" y="1603291"/>
            <a:ext cx="2880000" cy="2160000"/>
          </a:xfrm>
          <a:prstGeom prst="rect">
            <a:avLst/>
          </a:prstGeom>
        </p:spPr>
      </p:pic>
      <p:pic>
        <p:nvPicPr>
          <p:cNvPr id="11" name="Picture 10">
            <a:extLst>
              <a:ext uri="{FF2B5EF4-FFF2-40B4-BE49-F238E27FC236}">
                <a16:creationId xmlns:a16="http://schemas.microsoft.com/office/drawing/2014/main" id="{CE9048DE-8826-4177-98C1-9F45031D51F7}"/>
              </a:ext>
            </a:extLst>
          </p:cNvPr>
          <p:cNvPicPr>
            <a:picLocks noChangeAspect="1"/>
          </p:cNvPicPr>
          <p:nvPr/>
        </p:nvPicPr>
        <p:blipFill>
          <a:blip r:embed="rId10"/>
          <a:stretch>
            <a:fillRect/>
          </a:stretch>
        </p:blipFill>
        <p:spPr>
          <a:xfrm>
            <a:off x="4580834" y="3925909"/>
            <a:ext cx="2886261" cy="2153739"/>
          </a:xfrm>
          <a:prstGeom prst="rect">
            <a:avLst/>
          </a:prstGeom>
        </p:spPr>
      </p:pic>
      <p:pic>
        <p:nvPicPr>
          <p:cNvPr id="13" name="Picture 12">
            <a:extLst>
              <a:ext uri="{FF2B5EF4-FFF2-40B4-BE49-F238E27FC236}">
                <a16:creationId xmlns:a16="http://schemas.microsoft.com/office/drawing/2014/main" id="{068FE834-6FC1-41D3-A22A-1E4CFC3ABCE0}"/>
              </a:ext>
            </a:extLst>
          </p:cNvPr>
          <p:cNvPicPr>
            <a:picLocks noChangeAspect="1"/>
          </p:cNvPicPr>
          <p:nvPr/>
        </p:nvPicPr>
        <p:blipFill>
          <a:blip r:embed="rId11"/>
          <a:stretch>
            <a:fillRect/>
          </a:stretch>
        </p:blipFill>
        <p:spPr>
          <a:xfrm>
            <a:off x="7924863" y="3925909"/>
            <a:ext cx="2896794" cy="2160001"/>
          </a:xfrm>
          <a:prstGeom prst="rect">
            <a:avLst/>
          </a:prstGeom>
        </p:spPr>
      </p:pic>
      <p:pic>
        <p:nvPicPr>
          <p:cNvPr id="15" name="Picture 14">
            <a:extLst>
              <a:ext uri="{FF2B5EF4-FFF2-40B4-BE49-F238E27FC236}">
                <a16:creationId xmlns:a16="http://schemas.microsoft.com/office/drawing/2014/main" id="{5A6832C6-EA98-4A36-B73E-46E1B970E5D9}"/>
              </a:ext>
            </a:extLst>
          </p:cNvPr>
          <p:cNvPicPr>
            <a:picLocks noChangeAspect="1"/>
          </p:cNvPicPr>
          <p:nvPr/>
        </p:nvPicPr>
        <p:blipFill>
          <a:blip r:embed="rId12"/>
          <a:stretch>
            <a:fillRect/>
          </a:stretch>
        </p:blipFill>
        <p:spPr>
          <a:xfrm>
            <a:off x="4575567" y="1603291"/>
            <a:ext cx="2896794" cy="2160000"/>
          </a:xfrm>
          <a:prstGeom prst="rect">
            <a:avLst/>
          </a:prstGeom>
        </p:spPr>
      </p:pic>
      <p:pic>
        <p:nvPicPr>
          <p:cNvPr id="14" name="Picture 13">
            <a:extLst>
              <a:ext uri="{FF2B5EF4-FFF2-40B4-BE49-F238E27FC236}">
                <a16:creationId xmlns:a16="http://schemas.microsoft.com/office/drawing/2014/main" id="{BD4A781C-B5DF-4766-9185-16A767826CC3}"/>
              </a:ext>
            </a:extLst>
          </p:cNvPr>
          <p:cNvPicPr>
            <a:picLocks noChangeAspect="1"/>
          </p:cNvPicPr>
          <p:nvPr/>
        </p:nvPicPr>
        <p:blipFill>
          <a:blip r:embed="rId13"/>
          <a:stretch>
            <a:fillRect/>
          </a:stretch>
        </p:blipFill>
        <p:spPr>
          <a:xfrm>
            <a:off x="7924864" y="1603291"/>
            <a:ext cx="2896794" cy="2152084"/>
          </a:xfrm>
          <a:prstGeom prst="rect">
            <a:avLst/>
          </a:prstGeom>
        </p:spPr>
      </p:pic>
    </p:spTree>
    <p:extLst>
      <p:ext uri="{BB962C8B-B14F-4D97-AF65-F5344CB8AC3E}">
        <p14:creationId xmlns:p14="http://schemas.microsoft.com/office/powerpoint/2010/main" val="7489625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hlinkClick r:id="rId7"/>
            <a:extLst>
              <a:ext uri="{FF2B5EF4-FFF2-40B4-BE49-F238E27FC236}">
                <a16:creationId xmlns:a16="http://schemas.microsoft.com/office/drawing/2014/main" id="{9C5DE39E-F383-449D-AC9E-CE43548C424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53870" y="2473570"/>
            <a:ext cx="5571924" cy="1636509"/>
          </a:xfrm>
          <a:prstGeom prst="rect">
            <a:avLst/>
          </a:prstGeom>
        </p:spPr>
      </p:pic>
      <p:sp>
        <p:nvSpPr>
          <p:cNvPr id="5" name="Rectangle: Rounded Corners 4">
            <a:hlinkClick r:id="rId7"/>
            <a:extLst>
              <a:ext uri="{FF2B5EF4-FFF2-40B4-BE49-F238E27FC236}">
                <a16:creationId xmlns:a16="http://schemas.microsoft.com/office/drawing/2014/main" id="{FF157264-E35D-4C02-921F-0940E6F2CA43}"/>
              </a:ext>
            </a:extLst>
          </p:cNvPr>
          <p:cNvSpPr/>
          <p:nvPr/>
        </p:nvSpPr>
        <p:spPr bwMode="auto">
          <a:xfrm>
            <a:off x="4448318" y="4454770"/>
            <a:ext cx="2948940" cy="362068"/>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228600" rIns="91428" bIns="91440" rtlCol="0" anchor="ctr">
            <a:noAutofit/>
          </a:bodyPr>
          <a:lstStyle/>
          <a:p>
            <a:pPr algn="ctr" defTabSz="623853" rtl="0" fontAlgn="base">
              <a:lnSpc>
                <a:spcPts val="1100"/>
              </a:lnSpc>
              <a:spcBef>
                <a:spcPct val="0"/>
              </a:spcBef>
              <a:spcAft>
                <a:spcPct val="0"/>
              </a:spcAft>
              <a:buClr>
                <a:srgbClr val="000000"/>
              </a:buClr>
            </a:pPr>
            <a:r>
              <a:rPr lang="en-US" sz="2000" b="1" kern="1200" dirty="0">
                <a:solidFill>
                  <a:schemeClr val="bg1"/>
                </a:solidFill>
                <a:latin typeface="Arial" charset="0"/>
                <a:ea typeface="+mn-ea"/>
                <a:cs typeface="Times New Roman" pitchFamily="18" charset="0"/>
              </a:rPr>
              <a:t>www.slidebooks.com</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900" smtClean="0">
                <a:solidFill>
                  <a:srgbClr val="ADAFBB"/>
                </a:solidFill>
              </a:rPr>
              <a:pPr/>
              <a:t>13</a:t>
            </a:fld>
            <a:endParaRPr lang="en-US" sz="1000" dirty="0">
              <a:solidFill>
                <a:srgbClr val="ADAFBB"/>
              </a:solidFill>
            </a:endParaRPr>
          </a:p>
        </p:txBody>
      </p:sp>
    </p:spTree>
    <p:extLst>
      <p:ext uri="{BB962C8B-B14F-4D97-AF65-F5344CB8AC3E}">
        <p14:creationId xmlns:p14="http://schemas.microsoft.com/office/powerpoint/2010/main" val="7050870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kern="0" dirty="0"/>
              <a:t>Why should you undertake a stakeholder analysis for your project (or job)?</a:t>
            </a:r>
          </a:p>
        </p:txBody>
      </p:sp>
      <p:sp>
        <p:nvSpPr>
          <p:cNvPr id="6" name="TextBox 5">
            <a:extLst>
              <a:ext uri="{FF2B5EF4-FFF2-40B4-BE49-F238E27FC236}">
                <a16:creationId xmlns:a16="http://schemas.microsoft.com/office/drawing/2014/main" id="{C3CDFF47-2BDF-481B-8C77-A2EE049FF74B}"/>
              </a:ext>
            </a:extLst>
          </p:cNvPr>
          <p:cNvSpPr txBox="1"/>
          <p:nvPr/>
        </p:nvSpPr>
        <p:spPr>
          <a:xfrm>
            <a:off x="514113" y="1616159"/>
            <a:ext cx="1078041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i="0" u="none" strike="noStrike" kern="1200" cap="none" spc="0" normalizeH="0" baseline="0" noProof="0" dirty="0">
                <a:ln>
                  <a:noFill/>
                </a:ln>
                <a:solidFill>
                  <a:srgbClr val="002060"/>
                </a:solidFill>
                <a:effectLst/>
                <a:uLnTx/>
                <a:uFillTx/>
                <a:latin typeface="Arial" panose="020B0604020202020204"/>
                <a:ea typeface="+mn-ea"/>
                <a:cs typeface="+mn-cs"/>
              </a:rPr>
              <a:t>There are 5 key benefits of conducting a stakeholder analysis for your project (or job):</a:t>
            </a:r>
          </a:p>
        </p:txBody>
      </p:sp>
      <p:sp>
        <p:nvSpPr>
          <p:cNvPr id="11" name="Rectangle 10">
            <a:extLst>
              <a:ext uri="{FF2B5EF4-FFF2-40B4-BE49-F238E27FC236}">
                <a16:creationId xmlns:a16="http://schemas.microsoft.com/office/drawing/2014/main" id="{CC20D042-C261-40FA-9AD5-C92E9BBE6615}"/>
              </a:ext>
            </a:extLst>
          </p:cNvPr>
          <p:cNvSpPr/>
          <p:nvPr/>
        </p:nvSpPr>
        <p:spPr>
          <a:xfrm>
            <a:off x="2456869" y="4007928"/>
            <a:ext cx="7943271" cy="6715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dirty="0">
                <a:solidFill>
                  <a:schemeClr val="bg1"/>
                </a:solidFill>
              </a:rPr>
              <a:t>3. To increase the quality of you project by receiving input from stakeholders with high expertise</a:t>
            </a:r>
          </a:p>
        </p:txBody>
      </p:sp>
      <p:sp>
        <p:nvSpPr>
          <p:cNvPr id="21" name="Rectangle 20">
            <a:extLst>
              <a:ext uri="{FF2B5EF4-FFF2-40B4-BE49-F238E27FC236}">
                <a16:creationId xmlns:a16="http://schemas.microsoft.com/office/drawing/2014/main" id="{F5002797-E4EA-45B8-B820-76ECE0702817}"/>
              </a:ext>
            </a:extLst>
          </p:cNvPr>
          <p:cNvSpPr/>
          <p:nvPr/>
        </p:nvSpPr>
        <p:spPr>
          <a:xfrm>
            <a:off x="2456869" y="4940296"/>
            <a:ext cx="7943271" cy="6715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4. To better communicate the benefits of your project within the company</a:t>
            </a:r>
          </a:p>
        </p:txBody>
      </p:sp>
      <p:pic>
        <p:nvPicPr>
          <p:cNvPr id="3" name="Graphic 2" descr="Clipboard Badge with solid fill">
            <a:extLst>
              <a:ext uri="{FF2B5EF4-FFF2-40B4-BE49-F238E27FC236}">
                <a16:creationId xmlns:a16="http://schemas.microsoft.com/office/drawing/2014/main" id="{177C207C-E9C5-4F72-BD2F-D9590E622F5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00644" y="3963809"/>
            <a:ext cx="688111" cy="688111"/>
          </a:xfrm>
          <a:prstGeom prst="rect">
            <a:avLst/>
          </a:prstGeom>
        </p:spPr>
      </p:pic>
      <p:pic>
        <p:nvPicPr>
          <p:cNvPr id="5" name="Graphic 4" descr="Coins with solid fill">
            <a:extLst>
              <a:ext uri="{FF2B5EF4-FFF2-40B4-BE49-F238E27FC236}">
                <a16:creationId xmlns:a16="http://schemas.microsoft.com/office/drawing/2014/main" id="{2364D466-67B2-4F3D-B207-44E6F410B17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600644" y="3040777"/>
            <a:ext cx="671501" cy="671501"/>
          </a:xfrm>
          <a:prstGeom prst="rect">
            <a:avLst/>
          </a:prstGeom>
        </p:spPr>
      </p:pic>
      <p:sp>
        <p:nvSpPr>
          <p:cNvPr id="12" name="Rectangle 11">
            <a:extLst>
              <a:ext uri="{FF2B5EF4-FFF2-40B4-BE49-F238E27FC236}">
                <a16:creationId xmlns:a16="http://schemas.microsoft.com/office/drawing/2014/main" id="{9D0CD2E9-3F7C-4642-9314-A5A56FD65353}"/>
              </a:ext>
            </a:extLst>
          </p:cNvPr>
          <p:cNvSpPr/>
          <p:nvPr/>
        </p:nvSpPr>
        <p:spPr>
          <a:xfrm>
            <a:off x="2456869" y="3075560"/>
            <a:ext cx="7943271" cy="6715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2. To get more resources (i.e. people, time or money) by engaging with influential stakeholders</a:t>
            </a:r>
          </a:p>
        </p:txBody>
      </p:sp>
      <p:pic>
        <p:nvPicPr>
          <p:cNvPr id="8" name="Graphic 7" descr="Marketing outline">
            <a:extLst>
              <a:ext uri="{FF2B5EF4-FFF2-40B4-BE49-F238E27FC236}">
                <a16:creationId xmlns:a16="http://schemas.microsoft.com/office/drawing/2014/main" id="{7AE82408-0EBB-4A84-8485-6C50815A63F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19117" y="4903451"/>
            <a:ext cx="688111" cy="688111"/>
          </a:xfrm>
          <a:prstGeom prst="rect">
            <a:avLst/>
          </a:prstGeom>
        </p:spPr>
      </p:pic>
      <p:sp>
        <p:nvSpPr>
          <p:cNvPr id="14" name="Rectangle 13">
            <a:extLst>
              <a:ext uri="{FF2B5EF4-FFF2-40B4-BE49-F238E27FC236}">
                <a16:creationId xmlns:a16="http://schemas.microsoft.com/office/drawing/2014/main" id="{05C7ABA3-592D-494A-A845-ADFDA1E4756F}"/>
              </a:ext>
            </a:extLst>
          </p:cNvPr>
          <p:cNvSpPr/>
          <p:nvPr/>
        </p:nvSpPr>
        <p:spPr>
          <a:xfrm>
            <a:off x="2456869" y="5872662"/>
            <a:ext cx="7943271" cy="6715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5. To ensure a better adoption of the change that your project brings</a:t>
            </a:r>
          </a:p>
        </p:txBody>
      </p:sp>
      <p:pic>
        <p:nvPicPr>
          <p:cNvPr id="4" name="Graphic 3" descr="Group of people outline">
            <a:extLst>
              <a:ext uri="{FF2B5EF4-FFF2-40B4-BE49-F238E27FC236}">
                <a16:creationId xmlns:a16="http://schemas.microsoft.com/office/drawing/2014/main" id="{8BFAD7E0-FAF3-4A7F-85D7-23D12615974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563704" y="5843091"/>
            <a:ext cx="671501" cy="671501"/>
          </a:xfrm>
          <a:prstGeom prst="rect">
            <a:avLst/>
          </a:prstGeom>
        </p:spPr>
      </p:pic>
      <p:sp>
        <p:nvSpPr>
          <p:cNvPr id="18" name="Rectangle 17">
            <a:extLst>
              <a:ext uri="{FF2B5EF4-FFF2-40B4-BE49-F238E27FC236}">
                <a16:creationId xmlns:a16="http://schemas.microsoft.com/office/drawing/2014/main" id="{6D0D68B1-9DCF-46E2-87CD-C0AFC2962BA3}"/>
              </a:ext>
            </a:extLst>
          </p:cNvPr>
          <p:cNvSpPr/>
          <p:nvPr/>
        </p:nvSpPr>
        <p:spPr>
          <a:xfrm>
            <a:off x="2456869" y="2143192"/>
            <a:ext cx="7943271" cy="6715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1. To identify and manage effectively your </a:t>
            </a:r>
            <a:r>
              <a:rPr lang="en-US" sz="1400" b="1">
                <a:solidFill>
                  <a:schemeClr val="bg1"/>
                </a:solidFill>
              </a:rPr>
              <a:t>key stakeholders</a:t>
            </a:r>
            <a:endParaRPr lang="en-US" sz="1400" b="1" dirty="0">
              <a:solidFill>
                <a:schemeClr val="bg1"/>
              </a:solidFill>
            </a:endParaRPr>
          </a:p>
        </p:txBody>
      </p:sp>
      <p:pic>
        <p:nvPicPr>
          <p:cNvPr id="9" name="Graphic 8" descr="Magnifying glass with solid fill">
            <a:extLst>
              <a:ext uri="{FF2B5EF4-FFF2-40B4-BE49-F238E27FC236}">
                <a16:creationId xmlns:a16="http://schemas.microsoft.com/office/drawing/2014/main" id="{D861C705-A534-40EE-AF44-8BEF75E73C3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665466" y="2184429"/>
            <a:ext cx="604817" cy="604817"/>
          </a:xfrm>
          <a:prstGeom prst="rect">
            <a:avLst/>
          </a:prstGeom>
        </p:spPr>
      </p:pic>
    </p:spTree>
    <p:extLst>
      <p:ext uri="{BB962C8B-B14F-4D97-AF65-F5344CB8AC3E}">
        <p14:creationId xmlns:p14="http://schemas.microsoft.com/office/powerpoint/2010/main" val="13246423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kern="0" dirty="0"/>
              <a:t>How to undertake a robust stakeholder analysis in 3 simple steps?</a:t>
            </a:r>
          </a:p>
        </p:txBody>
      </p:sp>
      <p:sp>
        <p:nvSpPr>
          <p:cNvPr id="27" name="Rectangle 26">
            <a:extLst>
              <a:ext uri="{FF2B5EF4-FFF2-40B4-BE49-F238E27FC236}">
                <a16:creationId xmlns:a16="http://schemas.microsoft.com/office/drawing/2014/main" id="{BE87449D-3234-4567-915F-980F05B8A3E1}"/>
              </a:ext>
            </a:extLst>
          </p:cNvPr>
          <p:cNvSpPr/>
          <p:nvPr/>
        </p:nvSpPr>
        <p:spPr>
          <a:xfrm>
            <a:off x="2270414" y="1963482"/>
            <a:ext cx="7651173" cy="107106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28" name="Rectangle 27">
            <a:extLst>
              <a:ext uri="{FF2B5EF4-FFF2-40B4-BE49-F238E27FC236}">
                <a16:creationId xmlns:a16="http://schemas.microsoft.com/office/drawing/2014/main" id="{B0214802-ABDE-4F5B-AC18-9EE0C5AED73D}"/>
              </a:ext>
            </a:extLst>
          </p:cNvPr>
          <p:cNvSpPr/>
          <p:nvPr/>
        </p:nvSpPr>
        <p:spPr>
          <a:xfrm>
            <a:off x="2343151" y="1973803"/>
            <a:ext cx="706582" cy="10504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dirty="0">
                <a:ln>
                  <a:noFill/>
                </a:ln>
                <a:solidFill>
                  <a:schemeClr val="tx1"/>
                </a:solidFill>
                <a:effectLst/>
                <a:uLnTx/>
                <a:uFillTx/>
                <a:ea typeface="+mn-ea"/>
                <a:cs typeface="+mn-cs"/>
              </a:rPr>
              <a:t>1</a:t>
            </a:r>
          </a:p>
        </p:txBody>
      </p:sp>
      <p:sp>
        <p:nvSpPr>
          <p:cNvPr id="29" name="Rectangle 28">
            <a:extLst>
              <a:ext uri="{FF2B5EF4-FFF2-40B4-BE49-F238E27FC236}">
                <a16:creationId xmlns:a16="http://schemas.microsoft.com/office/drawing/2014/main" id="{04EE0F4B-C5FD-48E2-B995-42C0C5E3FF95}"/>
              </a:ext>
            </a:extLst>
          </p:cNvPr>
          <p:cNvSpPr/>
          <p:nvPr/>
        </p:nvSpPr>
        <p:spPr>
          <a:xfrm>
            <a:off x="3548496" y="2252792"/>
            <a:ext cx="6123709"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GB" sz="1600" b="1" dirty="0">
                <a:solidFill>
                  <a:schemeClr val="tx1"/>
                </a:solidFill>
              </a:rPr>
              <a:t>List stakeholders who can influence your project or be impacted by it</a:t>
            </a:r>
          </a:p>
        </p:txBody>
      </p:sp>
      <p:sp>
        <p:nvSpPr>
          <p:cNvPr id="30" name="Rectangle 29">
            <a:extLst>
              <a:ext uri="{FF2B5EF4-FFF2-40B4-BE49-F238E27FC236}">
                <a16:creationId xmlns:a16="http://schemas.microsoft.com/office/drawing/2014/main" id="{AB276962-2016-4C64-9B58-D5EFA8B098DB}"/>
              </a:ext>
            </a:extLst>
          </p:cNvPr>
          <p:cNvSpPr/>
          <p:nvPr/>
        </p:nvSpPr>
        <p:spPr>
          <a:xfrm>
            <a:off x="3238652" y="2119900"/>
            <a:ext cx="79362" cy="7582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solidFill>
                <a:schemeClr val="tx1"/>
              </a:solidFill>
            </a:endParaRPr>
          </a:p>
        </p:txBody>
      </p:sp>
      <p:sp>
        <p:nvSpPr>
          <p:cNvPr id="31" name="Rectangle 30">
            <a:extLst>
              <a:ext uri="{FF2B5EF4-FFF2-40B4-BE49-F238E27FC236}">
                <a16:creationId xmlns:a16="http://schemas.microsoft.com/office/drawing/2014/main" id="{32E441B9-647C-44E2-ABF7-8C700B50EB40}"/>
              </a:ext>
            </a:extLst>
          </p:cNvPr>
          <p:cNvSpPr/>
          <p:nvPr/>
        </p:nvSpPr>
        <p:spPr>
          <a:xfrm>
            <a:off x="2270414" y="3433795"/>
            <a:ext cx="7651173" cy="107106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32" name="Rectangle 31">
            <a:extLst>
              <a:ext uri="{FF2B5EF4-FFF2-40B4-BE49-F238E27FC236}">
                <a16:creationId xmlns:a16="http://schemas.microsoft.com/office/drawing/2014/main" id="{AA876D5D-3C5F-496A-A2A3-C7CECF06BF89}"/>
              </a:ext>
            </a:extLst>
          </p:cNvPr>
          <p:cNvSpPr/>
          <p:nvPr/>
        </p:nvSpPr>
        <p:spPr>
          <a:xfrm>
            <a:off x="2343151" y="3444116"/>
            <a:ext cx="706582" cy="10504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dirty="0">
                <a:ln>
                  <a:noFill/>
                </a:ln>
                <a:solidFill>
                  <a:schemeClr val="tx1"/>
                </a:solidFill>
                <a:effectLst/>
                <a:uLnTx/>
                <a:uFillTx/>
                <a:ea typeface="+mn-ea"/>
                <a:cs typeface="+mn-cs"/>
              </a:rPr>
              <a:t>2</a:t>
            </a:r>
          </a:p>
        </p:txBody>
      </p:sp>
      <p:sp>
        <p:nvSpPr>
          <p:cNvPr id="33" name="Rectangle 32">
            <a:extLst>
              <a:ext uri="{FF2B5EF4-FFF2-40B4-BE49-F238E27FC236}">
                <a16:creationId xmlns:a16="http://schemas.microsoft.com/office/drawing/2014/main" id="{A7501CC5-3F4A-44E0-B2B8-6ED55A47C121}"/>
              </a:ext>
            </a:extLst>
          </p:cNvPr>
          <p:cNvSpPr/>
          <p:nvPr/>
        </p:nvSpPr>
        <p:spPr>
          <a:xfrm>
            <a:off x="3548497" y="3723105"/>
            <a:ext cx="6123709"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ea typeface="+mn-ea"/>
                <a:cs typeface="+mn-cs"/>
              </a:rPr>
              <a:t>Segment your key stakeholders by leveraging our Stakeholder Analysis Matrix in </a:t>
            </a:r>
            <a:r>
              <a:rPr kumimoji="0" lang="en-GB" sz="1600" b="1" i="0" u="none" strike="noStrike" kern="1200" cap="none" spc="0" normalizeH="0" baseline="0" noProof="0" dirty="0" err="1">
                <a:ln>
                  <a:noFill/>
                </a:ln>
                <a:solidFill>
                  <a:schemeClr val="tx1"/>
                </a:solidFill>
                <a:effectLst/>
                <a:uLnTx/>
                <a:uFillTx/>
                <a:ea typeface="+mn-ea"/>
                <a:cs typeface="+mn-cs"/>
              </a:rPr>
              <a:t>Powerpoint</a:t>
            </a:r>
            <a:endParaRPr kumimoji="0" lang="en-GB" sz="1600" b="1" i="0" u="none" strike="noStrike" kern="1200" cap="none" spc="0" normalizeH="0" baseline="0" noProof="0" dirty="0">
              <a:ln>
                <a:noFill/>
              </a:ln>
              <a:solidFill>
                <a:schemeClr val="tx1"/>
              </a:solidFill>
              <a:effectLst/>
              <a:uLnTx/>
              <a:uFillTx/>
              <a:ea typeface="+mn-ea"/>
              <a:cs typeface="+mn-cs"/>
            </a:endParaRPr>
          </a:p>
        </p:txBody>
      </p:sp>
      <p:sp>
        <p:nvSpPr>
          <p:cNvPr id="34" name="Rectangle 33">
            <a:extLst>
              <a:ext uri="{FF2B5EF4-FFF2-40B4-BE49-F238E27FC236}">
                <a16:creationId xmlns:a16="http://schemas.microsoft.com/office/drawing/2014/main" id="{6B4D7915-5BA7-4C17-B2F1-780DF97B5174}"/>
              </a:ext>
            </a:extLst>
          </p:cNvPr>
          <p:cNvSpPr/>
          <p:nvPr/>
        </p:nvSpPr>
        <p:spPr>
          <a:xfrm>
            <a:off x="3238653" y="3590213"/>
            <a:ext cx="79362" cy="75822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35" name="Rectangle 34">
            <a:extLst>
              <a:ext uri="{FF2B5EF4-FFF2-40B4-BE49-F238E27FC236}">
                <a16:creationId xmlns:a16="http://schemas.microsoft.com/office/drawing/2014/main" id="{EE299828-482C-40C5-9D51-A83AB6184A67}"/>
              </a:ext>
            </a:extLst>
          </p:cNvPr>
          <p:cNvSpPr/>
          <p:nvPr/>
        </p:nvSpPr>
        <p:spPr>
          <a:xfrm>
            <a:off x="2270414" y="4904109"/>
            <a:ext cx="7651173" cy="107106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36" name="Rectangle 35">
            <a:extLst>
              <a:ext uri="{FF2B5EF4-FFF2-40B4-BE49-F238E27FC236}">
                <a16:creationId xmlns:a16="http://schemas.microsoft.com/office/drawing/2014/main" id="{91C98F09-57BA-4745-8C0B-CE5B55E3EC2E}"/>
              </a:ext>
            </a:extLst>
          </p:cNvPr>
          <p:cNvSpPr/>
          <p:nvPr/>
        </p:nvSpPr>
        <p:spPr>
          <a:xfrm>
            <a:off x="2343151" y="4914430"/>
            <a:ext cx="706582" cy="10504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dirty="0">
                <a:ln>
                  <a:noFill/>
                </a:ln>
                <a:solidFill>
                  <a:schemeClr val="tx1"/>
                </a:solidFill>
                <a:effectLst/>
                <a:uLnTx/>
                <a:uFillTx/>
                <a:ea typeface="+mn-ea"/>
                <a:cs typeface="+mn-cs"/>
              </a:rPr>
              <a:t>3</a:t>
            </a:r>
          </a:p>
        </p:txBody>
      </p:sp>
      <p:sp>
        <p:nvSpPr>
          <p:cNvPr id="37" name="Rectangle 36">
            <a:extLst>
              <a:ext uri="{FF2B5EF4-FFF2-40B4-BE49-F238E27FC236}">
                <a16:creationId xmlns:a16="http://schemas.microsoft.com/office/drawing/2014/main" id="{22049F5D-80E0-4952-8C95-093181A7EF1C}"/>
              </a:ext>
            </a:extLst>
          </p:cNvPr>
          <p:cNvSpPr/>
          <p:nvPr/>
        </p:nvSpPr>
        <p:spPr>
          <a:xfrm>
            <a:off x="3548497" y="5193419"/>
            <a:ext cx="6123709"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ea typeface="+mn-ea"/>
                <a:cs typeface="+mn-cs"/>
              </a:rPr>
              <a:t>Define &amp; implement a plan of actions for each stakeholder by leveraging our Detailed Stakeholder Analysis Matrix in Excel</a:t>
            </a:r>
          </a:p>
        </p:txBody>
      </p:sp>
      <p:sp>
        <p:nvSpPr>
          <p:cNvPr id="38" name="Rectangle 37">
            <a:extLst>
              <a:ext uri="{FF2B5EF4-FFF2-40B4-BE49-F238E27FC236}">
                <a16:creationId xmlns:a16="http://schemas.microsoft.com/office/drawing/2014/main" id="{712FE8DE-44E0-4055-9561-4D639B2173A8}"/>
              </a:ext>
            </a:extLst>
          </p:cNvPr>
          <p:cNvSpPr/>
          <p:nvPr/>
        </p:nvSpPr>
        <p:spPr>
          <a:xfrm>
            <a:off x="3238653" y="5060527"/>
            <a:ext cx="79362" cy="75822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Tree>
    <p:extLst>
      <p:ext uri="{BB962C8B-B14F-4D97-AF65-F5344CB8AC3E}">
        <p14:creationId xmlns:p14="http://schemas.microsoft.com/office/powerpoint/2010/main" val="22265321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chemeClr val="tx1"/>
                </a:solidFill>
                <a:ea typeface="+mn-ea"/>
                <a:cs typeface="+mn-cs"/>
              </a:rPr>
              <a:t>Step 1:</a:t>
            </a:r>
            <a:r>
              <a:rPr kumimoji="0" lang="en-GB" b="1" i="0" u="none" strike="noStrike" kern="1200" cap="none" spc="0" normalizeH="0" baseline="0" noProof="0" dirty="0">
                <a:ln>
                  <a:noFill/>
                </a:ln>
                <a:solidFill>
                  <a:schemeClr val="tx1"/>
                </a:solidFill>
                <a:effectLst/>
                <a:uLnTx/>
                <a:uFillTx/>
                <a:ea typeface="+mn-ea"/>
                <a:cs typeface="+mn-cs"/>
              </a:rPr>
              <a:t> List stakeholders who can influence your project or be impacted by it</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graphicFrame>
        <p:nvGraphicFramePr>
          <p:cNvPr id="6" name="Table 5">
            <a:extLst>
              <a:ext uri="{FF2B5EF4-FFF2-40B4-BE49-F238E27FC236}">
                <a16:creationId xmlns:a16="http://schemas.microsoft.com/office/drawing/2014/main" id="{5C5525D8-81F1-4A24-A0BB-F27EAE382C06}"/>
              </a:ext>
            </a:extLst>
          </p:cNvPr>
          <p:cNvGraphicFramePr>
            <a:graphicFrameLocks noGrp="1"/>
          </p:cNvGraphicFramePr>
          <p:nvPr>
            <p:extLst>
              <p:ext uri="{D42A27DB-BD31-4B8C-83A1-F6EECF244321}">
                <p14:modId xmlns:p14="http://schemas.microsoft.com/office/powerpoint/2010/main" val="1573608908"/>
              </p:ext>
            </p:extLst>
          </p:nvPr>
        </p:nvGraphicFramePr>
        <p:xfrm>
          <a:off x="609599" y="1605048"/>
          <a:ext cx="10977563" cy="4877437"/>
        </p:xfrm>
        <a:graphic>
          <a:graphicData uri="http://schemas.openxmlformats.org/drawingml/2006/table">
            <a:tbl>
              <a:tblPr firstRow="1" bandRow="1">
                <a:tableStyleId>{5C22544A-7EE6-4342-B048-85BDC9FD1C3A}</a:tableStyleId>
              </a:tblPr>
              <a:tblGrid>
                <a:gridCol w="5800437">
                  <a:extLst>
                    <a:ext uri="{9D8B030D-6E8A-4147-A177-3AD203B41FA5}">
                      <a16:colId xmlns:a16="http://schemas.microsoft.com/office/drawing/2014/main" val="2812679770"/>
                    </a:ext>
                  </a:extLst>
                </a:gridCol>
                <a:gridCol w="2605805">
                  <a:extLst>
                    <a:ext uri="{9D8B030D-6E8A-4147-A177-3AD203B41FA5}">
                      <a16:colId xmlns:a16="http://schemas.microsoft.com/office/drawing/2014/main" val="2852264056"/>
                    </a:ext>
                  </a:extLst>
                </a:gridCol>
                <a:gridCol w="2571321">
                  <a:extLst>
                    <a:ext uri="{9D8B030D-6E8A-4147-A177-3AD203B41FA5}">
                      <a16:colId xmlns:a16="http://schemas.microsoft.com/office/drawing/2014/main" val="937810905"/>
                    </a:ext>
                  </a:extLst>
                </a:gridCol>
              </a:tblGrid>
              <a:tr h="346141">
                <a:tc>
                  <a:txBody>
                    <a:bodyPr/>
                    <a:lstStyle/>
                    <a:p>
                      <a:pPr algn="ctr"/>
                      <a:r>
                        <a:rPr lang="en-US" sz="1400" dirty="0"/>
                        <a:t>Stakeholders</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400" b="1" kern="1200" dirty="0">
                          <a:solidFill>
                            <a:schemeClr val="lt1"/>
                          </a:solidFill>
                          <a:latin typeface="+mn-lt"/>
                          <a:ea typeface="+mn-ea"/>
                          <a:cs typeface="+mn-cs"/>
                        </a:rPr>
                        <a:t>Influence</a:t>
                      </a:r>
                    </a:p>
                  </a:txBody>
                  <a:tcPr anchor="ctr">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400" b="1" kern="1200" dirty="0">
                          <a:solidFill>
                            <a:schemeClr val="lt1"/>
                          </a:solidFill>
                          <a:latin typeface="+mn-lt"/>
                          <a:ea typeface="+mn-ea"/>
                          <a:cs typeface="+mn-cs"/>
                        </a:rPr>
                        <a:t>Impact</a:t>
                      </a:r>
                    </a:p>
                  </a:txBody>
                  <a:tcPr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139607081"/>
                  </a:ext>
                </a:extLst>
              </a:tr>
              <a:tr h="283206">
                <a:tc>
                  <a:txBody>
                    <a:bodyPr/>
                    <a:lstStyle/>
                    <a:p>
                      <a:r>
                        <a:rPr lang="en-US" sz="1200" dirty="0">
                          <a:solidFill>
                            <a:schemeClr val="tx2"/>
                          </a:solidFill>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200" kern="1200" dirty="0">
                          <a:solidFill>
                            <a:schemeClr val="tx2"/>
                          </a:solidFill>
                          <a:latin typeface="+mn-lt"/>
                          <a:ea typeface="+mn-ea"/>
                          <a:cs typeface="+mn-cs"/>
                        </a:rPr>
                        <a:t>High</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200" kern="1200" dirty="0">
                          <a:solidFill>
                            <a:schemeClr val="tx2"/>
                          </a:solidFill>
                          <a:latin typeface="+mn-lt"/>
                          <a:ea typeface="+mn-ea"/>
                          <a:cs typeface="+mn-cs"/>
                        </a:rPr>
                        <a:t>High</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572273013"/>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e.g. Senior executives, Manager, customer, team, shareholders, government</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200" kern="1200" dirty="0">
                          <a:solidFill>
                            <a:schemeClr val="tx2"/>
                          </a:solidFill>
                          <a:latin typeface="+mn-lt"/>
                          <a:ea typeface="+mn-ea"/>
                          <a:cs typeface="+mn-cs"/>
                        </a:rPr>
                        <a:t>Low</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200" kern="1200" dirty="0">
                          <a:solidFill>
                            <a:schemeClr val="tx2"/>
                          </a:solidFill>
                          <a:latin typeface="+mn-lt"/>
                          <a:ea typeface="+mn-ea"/>
                          <a:cs typeface="+mn-cs"/>
                        </a:rPr>
                        <a:t>Low</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880883950"/>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mn-lt"/>
                          <a:ea typeface="+mn-ea"/>
                          <a:cs typeface="+mn-cs"/>
                        </a:rPr>
                        <a:t>e.g. suppliers, the press, the public, prospective customers, trade associations</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200" kern="1200" dirty="0">
                          <a:solidFill>
                            <a:schemeClr val="tx2"/>
                          </a:solidFill>
                          <a:latin typeface="+mn-lt"/>
                          <a:ea typeface="+mn-ea"/>
                          <a:cs typeface="+mn-cs"/>
                        </a:rPr>
                        <a:t>High</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200" kern="1200" dirty="0">
                          <a:solidFill>
                            <a:schemeClr val="tx2"/>
                          </a:solidFill>
                          <a:latin typeface="+mn-lt"/>
                          <a:ea typeface="+mn-ea"/>
                          <a:cs typeface="+mn-cs"/>
                        </a:rPr>
                        <a:t>High</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21348056"/>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200" kern="1200" dirty="0">
                          <a:solidFill>
                            <a:schemeClr val="tx2"/>
                          </a:solidFill>
                          <a:latin typeface="+mn-lt"/>
                          <a:ea typeface="+mn-ea"/>
                          <a:cs typeface="+mn-cs"/>
                        </a:rPr>
                        <a:t>Low</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r>
                        <a:rPr lang="en-US" sz="1200" kern="1200" dirty="0">
                          <a:solidFill>
                            <a:schemeClr val="tx2"/>
                          </a:solidFill>
                          <a:latin typeface="+mn-lt"/>
                          <a:ea typeface="+mn-ea"/>
                          <a:cs typeface="+mn-cs"/>
                        </a:rPr>
                        <a:t>Low</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84224256"/>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89602370"/>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98631473"/>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372184532"/>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88630639"/>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55657696"/>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7991965"/>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13508749"/>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42719308"/>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12650204"/>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42013700"/>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4682238"/>
                  </a:ext>
                </a:extLst>
              </a:tr>
              <a:tr h="283206">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a:ea typeface="+mn-ea"/>
                          <a:cs typeface="+mn-cs"/>
                        </a:rPr>
                        <a:t>Insert Stakeholder Group name or Stakeholder name</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84227702"/>
                  </a:ext>
                </a:extLst>
              </a:tr>
            </a:tbl>
          </a:graphicData>
        </a:graphic>
      </p:graphicFrame>
    </p:spTree>
    <p:extLst>
      <p:ext uri="{BB962C8B-B14F-4D97-AF65-F5344CB8AC3E}">
        <p14:creationId xmlns:p14="http://schemas.microsoft.com/office/powerpoint/2010/main" val="4233012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chemeClr val="tx1"/>
                </a:solidFill>
                <a:ea typeface="+mn-ea"/>
                <a:cs typeface="+mn-cs"/>
              </a:rPr>
              <a:t>Step 2:</a:t>
            </a:r>
            <a:r>
              <a:rPr kumimoji="0" lang="en-GB" b="1" i="0" u="none" strike="noStrike" kern="1200" cap="none" spc="0" normalizeH="0" baseline="0" noProof="0" dirty="0">
                <a:ln>
                  <a:noFill/>
                </a:ln>
                <a:solidFill>
                  <a:schemeClr val="tx1"/>
                </a:solidFill>
                <a:effectLst/>
                <a:uLnTx/>
                <a:uFillTx/>
                <a:ea typeface="+mn-ea"/>
                <a:cs typeface="+mn-cs"/>
              </a:rPr>
              <a:t> Segment your key stakeholders by leveraging our Stakeholder Analysis Matrix</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5262883E-429E-4FBD-BE90-9FFFC2CD6641}"/>
              </a:ext>
            </a:extLst>
          </p:cNvPr>
          <p:cNvSpPr txBox="1"/>
          <p:nvPr/>
        </p:nvSpPr>
        <p:spPr>
          <a:xfrm>
            <a:off x="514113" y="1616159"/>
            <a:ext cx="10780419" cy="39600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i="0" u="none" strike="noStrike" kern="1200" cap="none" spc="0" normalizeH="0" baseline="0" noProof="0" dirty="0">
                <a:ln>
                  <a:noFill/>
                </a:ln>
                <a:solidFill>
                  <a:srgbClr val="002060"/>
                </a:solidFill>
                <a:effectLst/>
                <a:uLnTx/>
                <a:uFillTx/>
                <a:latin typeface="Arial" panose="020B0604020202020204"/>
                <a:ea typeface="+mn-ea"/>
                <a:cs typeface="+mn-cs"/>
              </a:rPr>
              <a:t>Our high-level Stakeholder Matrix will help you manage your Stakeholders effectively by segmenting your stakeholders into 4 </a:t>
            </a:r>
            <a:r>
              <a:rPr lang="en-US" dirty="0">
                <a:solidFill>
                  <a:srgbClr val="002060"/>
                </a:solidFill>
                <a:latin typeface="Arial" panose="020B0604020202020204"/>
              </a:rPr>
              <a:t>different strategies</a:t>
            </a:r>
            <a:r>
              <a:rPr kumimoji="0" lang="en-US" i="0" u="none" strike="noStrike" kern="1200" cap="none" spc="0" normalizeH="0" baseline="0" noProof="0" dirty="0">
                <a:ln>
                  <a:noFill/>
                </a:ln>
                <a:solidFill>
                  <a:srgbClr val="002060"/>
                </a:solidFill>
                <a:effectLst/>
                <a:uLnTx/>
                <a:uFillTx/>
                <a:latin typeface="Arial" panose="020B0604020202020204"/>
                <a:ea typeface="+mn-ea"/>
                <a:cs typeface="+mn-cs"/>
              </a:rPr>
              <a:t>:</a:t>
            </a:r>
          </a:p>
          <a:p>
            <a:pPr marL="342900" marR="0" lvl="0" indent="-249238"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i="0" u="none" strike="noStrike" kern="1200" cap="none" spc="0" normalizeH="0" baseline="0" noProof="0" dirty="0">
                <a:ln>
                  <a:noFill/>
                </a:ln>
                <a:solidFill>
                  <a:srgbClr val="002060"/>
                </a:solidFill>
                <a:effectLst/>
                <a:uLnTx/>
                <a:uFillTx/>
                <a:latin typeface="Arial" panose="020B0604020202020204"/>
                <a:ea typeface="+mn-ea"/>
                <a:cs typeface="+mn-cs"/>
              </a:rPr>
              <a:t>Monitor and Respond</a:t>
            </a:r>
          </a:p>
          <a:p>
            <a:pPr marL="342900" marR="0" lvl="0" indent="-249238"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i="0" u="none" strike="noStrike" kern="1200" cap="none" spc="0" normalizeH="0" baseline="0" noProof="0" dirty="0">
                <a:ln>
                  <a:noFill/>
                </a:ln>
                <a:solidFill>
                  <a:srgbClr val="002060"/>
                </a:solidFill>
                <a:effectLst/>
                <a:uLnTx/>
                <a:uFillTx/>
                <a:latin typeface="Arial" panose="020B0604020202020204"/>
                <a:ea typeface="+mn-ea"/>
                <a:cs typeface="+mn-cs"/>
              </a:rPr>
              <a:t>Keep Informed</a:t>
            </a:r>
          </a:p>
          <a:p>
            <a:pPr marL="342900" marR="0" lvl="0" indent="-249238"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lang="en-AU" dirty="0">
                <a:cs typeface="Arial" charset="0"/>
              </a:rPr>
              <a:t>Collaborate</a:t>
            </a:r>
            <a:endParaRPr kumimoji="0" lang="en-US" i="0" u="none" strike="noStrike" kern="1200" cap="none" spc="0" normalizeH="0" baseline="0" noProof="0" dirty="0">
              <a:ln>
                <a:noFill/>
              </a:ln>
              <a:solidFill>
                <a:srgbClr val="002060"/>
              </a:solidFill>
              <a:effectLst/>
              <a:uLnTx/>
              <a:uFillTx/>
              <a:latin typeface="Arial" panose="020B0604020202020204"/>
              <a:ea typeface="+mn-ea"/>
              <a:cs typeface="+mn-cs"/>
            </a:endParaRPr>
          </a:p>
          <a:p>
            <a:pPr marL="342900" marR="0" lvl="0" indent="-249238"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i="0" u="none" strike="noStrike" kern="1200" cap="none" spc="0" normalizeH="0" baseline="0" noProof="0" dirty="0">
                <a:ln>
                  <a:noFill/>
                </a:ln>
                <a:solidFill>
                  <a:srgbClr val="002060"/>
                </a:solidFill>
                <a:effectLst/>
                <a:uLnTx/>
                <a:uFillTx/>
                <a:latin typeface="Arial" panose="020B0604020202020204"/>
                <a:ea typeface="+mn-ea"/>
                <a:cs typeface="+mn-cs"/>
              </a:rPr>
              <a:t>Maintain Confidence</a:t>
            </a:r>
          </a:p>
          <a:p>
            <a:pPr marL="93662" marR="0" lvl="0" algn="l" defTabSz="914400" rtl="0" eaLnBrk="1" fontAlgn="auto" latinLnBrk="0" hangingPunct="1">
              <a:lnSpc>
                <a:spcPct val="100000"/>
              </a:lnSpc>
              <a:spcBef>
                <a:spcPts val="400"/>
              </a:spcBef>
              <a:spcAft>
                <a:spcPts val="400"/>
              </a:spcAft>
              <a:buClrTx/>
              <a:buSzTx/>
              <a:tabLst/>
              <a:defRPr/>
            </a:pPr>
            <a:endParaRPr lang="en-US" dirty="0">
              <a:solidFill>
                <a:srgbClr val="002060"/>
              </a:solidFill>
              <a:latin typeface="Arial" panose="020B0604020202020204"/>
            </a:endParaRPr>
          </a:p>
          <a:p>
            <a:pPr marL="93662" marR="0" lvl="0" algn="l" defTabSz="914400" rtl="0" eaLnBrk="1" fontAlgn="auto" latinLnBrk="0" hangingPunct="1">
              <a:lnSpc>
                <a:spcPct val="100000"/>
              </a:lnSpc>
              <a:spcBef>
                <a:spcPts val="400"/>
              </a:spcBef>
              <a:spcAft>
                <a:spcPts val="400"/>
              </a:spcAft>
              <a:buClrTx/>
              <a:buSzTx/>
              <a:tabLst/>
              <a:defRPr/>
            </a:pPr>
            <a:r>
              <a:rPr lang="en-US" dirty="0">
                <a:solidFill>
                  <a:srgbClr val="002060"/>
                </a:solidFill>
                <a:latin typeface="Arial" panose="020B0604020202020204"/>
              </a:rPr>
              <a:t>To identify in which segment your stakeholder belongs, you simply need to rate them based on the following 2 dimensions:</a:t>
            </a:r>
          </a:p>
          <a:p>
            <a:pPr marL="342900" indent="-249238">
              <a:spcBef>
                <a:spcPts val="400"/>
              </a:spcBef>
              <a:spcAft>
                <a:spcPts val="400"/>
              </a:spcAft>
              <a:buFont typeface="Arial" panose="020B0604020202020204" pitchFamily="34" charset="0"/>
              <a:buChar char="•"/>
              <a:defRPr/>
            </a:pPr>
            <a:r>
              <a:rPr lang="en-US" dirty="0">
                <a:solidFill>
                  <a:srgbClr val="002060"/>
                </a:solidFill>
                <a:latin typeface="Arial" panose="020B0604020202020204"/>
              </a:rPr>
              <a:t>Influence (</a:t>
            </a:r>
            <a:r>
              <a:rPr lang="en-GB" dirty="0">
                <a:solidFill>
                  <a:srgbClr val="002060"/>
                </a:solidFill>
                <a:latin typeface="Arial" panose="020B0604020202020204"/>
              </a:rPr>
              <a:t>Extent to which this group or person’s buy-in is needed to move forward)</a:t>
            </a:r>
          </a:p>
          <a:p>
            <a:pPr marL="342900" indent="-249238">
              <a:spcBef>
                <a:spcPts val="400"/>
              </a:spcBef>
              <a:spcAft>
                <a:spcPts val="400"/>
              </a:spcAft>
              <a:buFont typeface="Arial" panose="020B0604020202020204" pitchFamily="34" charset="0"/>
              <a:buChar char="•"/>
              <a:defRPr/>
            </a:pPr>
            <a:r>
              <a:rPr lang="en-US" dirty="0">
                <a:solidFill>
                  <a:srgbClr val="002060"/>
                </a:solidFill>
                <a:latin typeface="Arial" panose="020B0604020202020204"/>
              </a:rPr>
              <a:t>Impact (</a:t>
            </a:r>
            <a:r>
              <a:rPr lang="en-GB" dirty="0">
                <a:solidFill>
                  <a:srgbClr val="002060"/>
                </a:solidFill>
                <a:latin typeface="Arial" panose="020B0604020202020204"/>
              </a:rPr>
              <a:t>Extent to which the project will impact this group/person)</a:t>
            </a:r>
            <a:endParaRPr kumimoji="0" lang="en-US" sz="2400" b="1" i="0" u="none" strike="noStrike" kern="1200" cap="none" spc="0" normalizeH="0" baseline="0" noProof="0" dirty="0">
              <a:ln>
                <a:noFill/>
              </a:ln>
              <a:solidFill>
                <a:srgbClr val="00206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132360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5" y="365126"/>
            <a:ext cx="6771714" cy="1091318"/>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dirty="0">
                <a:solidFill>
                  <a:schemeClr val="tx1"/>
                </a:solidFill>
                <a:ea typeface="+mn-ea"/>
                <a:cs typeface="+mn-cs"/>
              </a:rPr>
              <a:t>Step 2:</a:t>
            </a:r>
            <a:r>
              <a:rPr kumimoji="0" lang="en-GB" b="1" i="0" u="none" strike="noStrike" kern="1200" cap="none" spc="0" normalizeH="0" baseline="0" noProof="0" dirty="0">
                <a:ln>
                  <a:noFill/>
                </a:ln>
                <a:solidFill>
                  <a:schemeClr val="tx1"/>
                </a:solidFill>
                <a:effectLst/>
                <a:uLnTx/>
                <a:uFillTx/>
                <a:ea typeface="+mn-ea"/>
                <a:cs typeface="+mn-cs"/>
              </a:rPr>
              <a:t> Segment your key stakeholders by leveraging our Stakeholder Analysis Matrix</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45" name="TextBox 27">
            <a:extLst>
              <a:ext uri="{FF2B5EF4-FFF2-40B4-BE49-F238E27FC236}">
                <a16:creationId xmlns:a16="http://schemas.microsoft.com/office/drawing/2014/main" id="{4705B909-F094-4E27-8462-5070FB3C8438}"/>
              </a:ext>
            </a:extLst>
          </p:cNvPr>
          <p:cNvSpPr txBox="1">
            <a:spLocks noChangeArrowheads="1"/>
          </p:cNvSpPr>
          <p:nvPr/>
        </p:nvSpPr>
        <p:spPr bwMode="auto">
          <a:xfrm>
            <a:off x="4239390" y="6101936"/>
            <a:ext cx="4985661" cy="557346"/>
          </a:xfrm>
          <a:prstGeom prst="rect">
            <a:avLst/>
          </a:prstGeom>
          <a:noFill/>
          <a:ln w="9525">
            <a:noFill/>
            <a:miter lim="800000"/>
            <a:headEnd/>
            <a:tailEnd/>
          </a:ln>
        </p:spPr>
        <p:txBody>
          <a:bodyPr wrap="square" lIns="64275" tIns="32138" rIns="64275" bIns="32138">
            <a:spAutoFit/>
          </a:bodyPr>
          <a:lstStyle/>
          <a:p>
            <a:pPr algn="ctr">
              <a:spcBef>
                <a:spcPct val="50000"/>
              </a:spcBef>
            </a:pPr>
            <a:r>
              <a:rPr lang="en-AU" sz="1300" b="1" dirty="0">
                <a:cs typeface="Arial" charset="0"/>
              </a:rPr>
              <a:t>Impact</a:t>
            </a:r>
            <a:br>
              <a:rPr lang="en-AU" sz="1300" b="1" dirty="0">
                <a:cs typeface="Arial" charset="0"/>
              </a:rPr>
            </a:br>
            <a:r>
              <a:rPr lang="en-AU" sz="1300" i="1" dirty="0">
                <a:cs typeface="Arial" charset="0"/>
              </a:rPr>
              <a:t>Extent to which the project will impact this group/person</a:t>
            </a:r>
          </a:p>
          <a:p>
            <a:pPr algn="ctr"/>
            <a:endParaRPr lang="en-AU" sz="600" b="1" dirty="0">
              <a:cs typeface="Arial" charset="0"/>
            </a:endParaRPr>
          </a:p>
        </p:txBody>
      </p:sp>
      <p:sp>
        <p:nvSpPr>
          <p:cNvPr id="46" name="TextBox 28">
            <a:extLst>
              <a:ext uri="{FF2B5EF4-FFF2-40B4-BE49-F238E27FC236}">
                <a16:creationId xmlns:a16="http://schemas.microsoft.com/office/drawing/2014/main" id="{C433C980-B246-49AC-A1F3-5756EE2DA2ED}"/>
              </a:ext>
            </a:extLst>
          </p:cNvPr>
          <p:cNvSpPr txBox="1">
            <a:spLocks noChangeArrowheads="1"/>
          </p:cNvSpPr>
          <p:nvPr/>
        </p:nvSpPr>
        <p:spPr bwMode="auto">
          <a:xfrm>
            <a:off x="1345403" y="1575481"/>
            <a:ext cx="484070"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sp>
        <p:nvSpPr>
          <p:cNvPr id="47" name="TextBox 30">
            <a:extLst>
              <a:ext uri="{FF2B5EF4-FFF2-40B4-BE49-F238E27FC236}">
                <a16:creationId xmlns:a16="http://schemas.microsoft.com/office/drawing/2014/main" id="{FF0DCE74-6C68-4FE8-B9BC-EBBB0AE6D7E1}"/>
              </a:ext>
            </a:extLst>
          </p:cNvPr>
          <p:cNvSpPr txBox="1">
            <a:spLocks noChangeArrowheads="1"/>
          </p:cNvSpPr>
          <p:nvPr/>
        </p:nvSpPr>
        <p:spPr bwMode="auto">
          <a:xfrm>
            <a:off x="1710258" y="6002411"/>
            <a:ext cx="408728"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low</a:t>
            </a:r>
          </a:p>
        </p:txBody>
      </p:sp>
      <p:sp>
        <p:nvSpPr>
          <p:cNvPr id="48" name="TextBox 43">
            <a:extLst>
              <a:ext uri="{FF2B5EF4-FFF2-40B4-BE49-F238E27FC236}">
                <a16:creationId xmlns:a16="http://schemas.microsoft.com/office/drawing/2014/main" id="{15866024-AF79-4213-8B1A-136E17B43D5F}"/>
              </a:ext>
            </a:extLst>
          </p:cNvPr>
          <p:cNvSpPr txBox="1">
            <a:spLocks noChangeArrowheads="1"/>
          </p:cNvSpPr>
          <p:nvPr/>
        </p:nvSpPr>
        <p:spPr bwMode="auto">
          <a:xfrm>
            <a:off x="3159098" y="1617004"/>
            <a:ext cx="2386833"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Maintain Confidence</a:t>
            </a:r>
          </a:p>
        </p:txBody>
      </p:sp>
      <p:sp>
        <p:nvSpPr>
          <p:cNvPr id="49" name="TextBox 44">
            <a:extLst>
              <a:ext uri="{FF2B5EF4-FFF2-40B4-BE49-F238E27FC236}">
                <a16:creationId xmlns:a16="http://schemas.microsoft.com/office/drawing/2014/main" id="{8E8144B8-DE60-4898-A390-DDAB274DFD00}"/>
              </a:ext>
            </a:extLst>
          </p:cNvPr>
          <p:cNvSpPr txBox="1">
            <a:spLocks noChangeArrowheads="1"/>
          </p:cNvSpPr>
          <p:nvPr/>
        </p:nvSpPr>
        <p:spPr bwMode="auto">
          <a:xfrm>
            <a:off x="8367323" y="3745818"/>
            <a:ext cx="1745632"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Keep Informed</a:t>
            </a:r>
          </a:p>
        </p:txBody>
      </p:sp>
      <p:sp>
        <p:nvSpPr>
          <p:cNvPr id="50" name="TextBox 42">
            <a:extLst>
              <a:ext uri="{FF2B5EF4-FFF2-40B4-BE49-F238E27FC236}">
                <a16:creationId xmlns:a16="http://schemas.microsoft.com/office/drawing/2014/main" id="{021A7501-6AAB-40F6-B45B-D5EE90117B55}"/>
              </a:ext>
            </a:extLst>
          </p:cNvPr>
          <p:cNvSpPr txBox="1">
            <a:spLocks noChangeArrowheads="1"/>
          </p:cNvSpPr>
          <p:nvPr/>
        </p:nvSpPr>
        <p:spPr bwMode="auto">
          <a:xfrm>
            <a:off x="8540447" y="1617004"/>
            <a:ext cx="1399384" cy="341903"/>
          </a:xfrm>
          <a:prstGeom prst="rect">
            <a:avLst/>
          </a:prstGeom>
          <a:noFill/>
          <a:ln w="9525">
            <a:noFill/>
            <a:miter lim="800000"/>
            <a:headEnd/>
            <a:tailEnd/>
          </a:ln>
        </p:spPr>
        <p:txBody>
          <a:bodyPr wrap="square" lIns="64275" tIns="32138" rIns="64275" bIns="32138">
            <a:spAutoFit/>
          </a:bodyPr>
          <a:lstStyle/>
          <a:p>
            <a:pPr algn="ctr"/>
            <a:r>
              <a:rPr lang="en-AU" b="1" dirty="0">
                <a:cs typeface="Arial" charset="0"/>
              </a:rPr>
              <a:t>Collaborate</a:t>
            </a:r>
          </a:p>
        </p:txBody>
      </p:sp>
      <p:sp>
        <p:nvSpPr>
          <p:cNvPr id="51" name="TextBox 43">
            <a:extLst>
              <a:ext uri="{FF2B5EF4-FFF2-40B4-BE49-F238E27FC236}">
                <a16:creationId xmlns:a16="http://schemas.microsoft.com/office/drawing/2014/main" id="{0FA74DED-0524-47B0-A2AB-F8328467651E}"/>
              </a:ext>
            </a:extLst>
          </p:cNvPr>
          <p:cNvSpPr txBox="1">
            <a:spLocks noChangeArrowheads="1"/>
          </p:cNvSpPr>
          <p:nvPr/>
        </p:nvSpPr>
        <p:spPr bwMode="auto">
          <a:xfrm>
            <a:off x="3101390" y="3759080"/>
            <a:ext cx="2502250"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Monitor and Respond</a:t>
            </a:r>
          </a:p>
        </p:txBody>
      </p:sp>
      <p:cxnSp>
        <p:nvCxnSpPr>
          <p:cNvPr id="53" name="Straight Arrow Connector 21">
            <a:extLst>
              <a:ext uri="{FF2B5EF4-FFF2-40B4-BE49-F238E27FC236}">
                <a16:creationId xmlns:a16="http://schemas.microsoft.com/office/drawing/2014/main" id="{59056C98-B5BA-40F9-A432-B7B9C998BC04}"/>
              </a:ext>
            </a:extLst>
          </p:cNvPr>
          <p:cNvCxnSpPr>
            <a:cxnSpLocks noChangeShapeType="1"/>
          </p:cNvCxnSpPr>
          <p:nvPr/>
        </p:nvCxnSpPr>
        <p:spPr bwMode="auto">
          <a:xfrm flipV="1">
            <a:off x="1897080" y="3739197"/>
            <a:ext cx="9529209" cy="4876"/>
          </a:xfrm>
          <a:prstGeom prst="straightConnector1">
            <a:avLst/>
          </a:prstGeom>
          <a:noFill/>
          <a:ln w="19050">
            <a:solidFill>
              <a:schemeClr val="bg1">
                <a:lumMod val="85000"/>
              </a:schemeClr>
            </a:solidFill>
            <a:round/>
            <a:headEnd/>
            <a:tailEnd type="none" w="med" len="med"/>
          </a:ln>
        </p:spPr>
      </p:cxnSp>
      <p:cxnSp>
        <p:nvCxnSpPr>
          <p:cNvPr id="54" name="Straight Arrow Connector 20">
            <a:extLst>
              <a:ext uri="{FF2B5EF4-FFF2-40B4-BE49-F238E27FC236}">
                <a16:creationId xmlns:a16="http://schemas.microsoft.com/office/drawing/2014/main" id="{3E366202-1516-4E2B-8C02-57AD0E3DE466}"/>
              </a:ext>
            </a:extLst>
          </p:cNvPr>
          <p:cNvCxnSpPr>
            <a:cxnSpLocks noChangeShapeType="1"/>
          </p:cNvCxnSpPr>
          <p:nvPr/>
        </p:nvCxnSpPr>
        <p:spPr bwMode="auto">
          <a:xfrm flipH="1" flipV="1">
            <a:off x="6684511" y="1707960"/>
            <a:ext cx="0" cy="4249492"/>
          </a:xfrm>
          <a:prstGeom prst="straightConnector1">
            <a:avLst/>
          </a:prstGeom>
          <a:ln w="19050">
            <a:headEnd/>
            <a:tailEnd type="none" w="med" len="med"/>
          </a:ln>
        </p:spPr>
        <p:style>
          <a:lnRef idx="2">
            <a:schemeClr val="accent4"/>
          </a:lnRef>
          <a:fillRef idx="0">
            <a:schemeClr val="accent4"/>
          </a:fillRef>
          <a:effectRef idx="1">
            <a:schemeClr val="accent4"/>
          </a:effectRef>
          <a:fontRef idx="minor">
            <a:schemeClr val="tx1"/>
          </a:fontRef>
        </p:style>
      </p:cxnSp>
      <p:cxnSp>
        <p:nvCxnSpPr>
          <p:cNvPr id="55" name="Straight Arrow Connector 20">
            <a:extLst>
              <a:ext uri="{FF2B5EF4-FFF2-40B4-BE49-F238E27FC236}">
                <a16:creationId xmlns:a16="http://schemas.microsoft.com/office/drawing/2014/main" id="{BB26BD6D-ADAD-41FE-A83E-69C7C9BAD262}"/>
              </a:ext>
            </a:extLst>
          </p:cNvPr>
          <p:cNvCxnSpPr>
            <a:cxnSpLocks noChangeShapeType="1"/>
          </p:cNvCxnSpPr>
          <p:nvPr/>
        </p:nvCxnSpPr>
        <p:spPr bwMode="auto">
          <a:xfrm flipV="1">
            <a:off x="1897078" y="1641939"/>
            <a:ext cx="0" cy="4315513"/>
          </a:xfrm>
          <a:prstGeom prst="straightConnector1">
            <a:avLst/>
          </a:prstGeom>
          <a:noFill/>
          <a:ln w="25400">
            <a:solidFill>
              <a:schemeClr val="tx1"/>
            </a:solidFill>
            <a:round/>
            <a:headEnd/>
            <a:tailEnd type="arrow" w="med" len="med"/>
          </a:ln>
        </p:spPr>
      </p:cxnSp>
      <p:cxnSp>
        <p:nvCxnSpPr>
          <p:cNvPr id="56" name="Straight Arrow Connector 21">
            <a:extLst>
              <a:ext uri="{FF2B5EF4-FFF2-40B4-BE49-F238E27FC236}">
                <a16:creationId xmlns:a16="http://schemas.microsoft.com/office/drawing/2014/main" id="{6E3867E8-F754-4326-9D42-38736359E90F}"/>
              </a:ext>
            </a:extLst>
          </p:cNvPr>
          <p:cNvCxnSpPr>
            <a:cxnSpLocks noChangeShapeType="1"/>
          </p:cNvCxnSpPr>
          <p:nvPr/>
        </p:nvCxnSpPr>
        <p:spPr bwMode="auto">
          <a:xfrm flipV="1">
            <a:off x="1897081" y="5957451"/>
            <a:ext cx="9529208" cy="1"/>
          </a:xfrm>
          <a:prstGeom prst="straightConnector1">
            <a:avLst/>
          </a:prstGeom>
          <a:noFill/>
          <a:ln w="25400">
            <a:solidFill>
              <a:schemeClr val="tx1"/>
            </a:solidFill>
            <a:round/>
            <a:headEnd/>
            <a:tailEnd type="arrow" w="med" len="med"/>
          </a:ln>
        </p:spPr>
      </p:cxnSp>
      <p:sp>
        <p:nvSpPr>
          <p:cNvPr id="57" name="TextBox 56">
            <a:extLst>
              <a:ext uri="{FF2B5EF4-FFF2-40B4-BE49-F238E27FC236}">
                <a16:creationId xmlns:a16="http://schemas.microsoft.com/office/drawing/2014/main" id="{D0871517-2C90-44F0-B6FD-EBDCC938BE9C}"/>
              </a:ext>
            </a:extLst>
          </p:cNvPr>
          <p:cNvSpPr txBox="1">
            <a:spLocks noChangeArrowheads="1"/>
          </p:cNvSpPr>
          <p:nvPr/>
        </p:nvSpPr>
        <p:spPr bwMode="auto">
          <a:xfrm>
            <a:off x="11030684" y="6013138"/>
            <a:ext cx="484070"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sp>
        <p:nvSpPr>
          <p:cNvPr id="121" name="TextBox 27">
            <a:extLst>
              <a:ext uri="{FF2B5EF4-FFF2-40B4-BE49-F238E27FC236}">
                <a16:creationId xmlns:a16="http://schemas.microsoft.com/office/drawing/2014/main" id="{BD4D2543-5708-42A2-8EE2-B377DF9385FB}"/>
              </a:ext>
            </a:extLst>
          </p:cNvPr>
          <p:cNvSpPr txBox="1">
            <a:spLocks noChangeArrowheads="1"/>
          </p:cNvSpPr>
          <p:nvPr/>
        </p:nvSpPr>
        <p:spPr bwMode="auto">
          <a:xfrm>
            <a:off x="202388" y="3206608"/>
            <a:ext cx="1746540" cy="1065178"/>
          </a:xfrm>
          <a:prstGeom prst="rect">
            <a:avLst/>
          </a:prstGeom>
          <a:noFill/>
          <a:ln w="9525">
            <a:noFill/>
            <a:miter lim="800000"/>
            <a:headEnd/>
            <a:tailEnd/>
          </a:ln>
        </p:spPr>
        <p:txBody>
          <a:bodyPr wrap="square" lIns="64275" tIns="32138" rIns="64275" bIns="32138">
            <a:spAutoFit/>
          </a:bodyPr>
          <a:lstStyle/>
          <a:p>
            <a:pPr algn="ctr" eaLnBrk="1" hangingPunct="1">
              <a:defRPr/>
            </a:pPr>
            <a:r>
              <a:rPr lang="en-AU" sz="1300" b="1" dirty="0">
                <a:latin typeface="+mn-lt"/>
                <a:cs typeface="Arial"/>
              </a:rPr>
              <a:t>Influence</a:t>
            </a:r>
          </a:p>
          <a:p>
            <a:pPr algn="ctr" eaLnBrk="1" hangingPunct="1">
              <a:defRPr/>
            </a:pPr>
            <a:r>
              <a:rPr lang="en-AU" sz="1300" i="1" dirty="0">
                <a:latin typeface="+mn-lt"/>
                <a:cs typeface="Arial"/>
              </a:rPr>
              <a:t>Extent to which this group or person’s buy-in is needed to move forward</a:t>
            </a:r>
          </a:p>
        </p:txBody>
      </p:sp>
      <p:sp>
        <p:nvSpPr>
          <p:cNvPr id="6" name="TextBox 5">
            <a:extLst>
              <a:ext uri="{FF2B5EF4-FFF2-40B4-BE49-F238E27FC236}">
                <a16:creationId xmlns:a16="http://schemas.microsoft.com/office/drawing/2014/main" id="{DEB285D0-8F6C-4E31-8EF4-24D043585532}"/>
              </a:ext>
            </a:extLst>
          </p:cNvPr>
          <p:cNvSpPr txBox="1"/>
          <p:nvPr/>
        </p:nvSpPr>
        <p:spPr>
          <a:xfrm>
            <a:off x="7458952" y="535292"/>
            <a:ext cx="3934972" cy="261610"/>
          </a:xfrm>
          <a:prstGeom prst="rect">
            <a:avLst/>
          </a:prstGeom>
          <a:noFill/>
        </p:spPr>
        <p:txBody>
          <a:bodyPr wrap="square" rtlCol="0">
            <a:spAutoFit/>
          </a:bodyPr>
          <a:lstStyle/>
          <a:p>
            <a:pPr algn="ctr"/>
            <a:r>
              <a:rPr lang="en-AU" sz="1100" b="1" dirty="0">
                <a:solidFill>
                  <a:schemeClr val="tx1"/>
                </a:solidFill>
                <a:latin typeface="Arial" pitchFamily="34" charset="0"/>
                <a:cs typeface="Arial" pitchFamily="34" charset="0"/>
              </a:rPr>
              <a:t>Who must be in contact with the group or person?</a:t>
            </a:r>
            <a:endParaRPr lang="en-AU" dirty="0"/>
          </a:p>
        </p:txBody>
      </p:sp>
      <p:sp>
        <p:nvSpPr>
          <p:cNvPr id="131" name="Rounded Rectangle 31">
            <a:extLst>
              <a:ext uri="{FF2B5EF4-FFF2-40B4-BE49-F238E27FC236}">
                <a16:creationId xmlns:a16="http://schemas.microsoft.com/office/drawing/2014/main" id="{C76B7FBD-575B-4C5A-8FB1-1F63D05FA9D3}"/>
              </a:ext>
            </a:extLst>
          </p:cNvPr>
          <p:cNvSpPr/>
          <p:nvPr/>
        </p:nvSpPr>
        <p:spPr bwMode="auto">
          <a:xfrm>
            <a:off x="7458952" y="853167"/>
            <a:ext cx="1196241" cy="261611"/>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name</a:t>
            </a:r>
          </a:p>
        </p:txBody>
      </p:sp>
      <p:sp>
        <p:nvSpPr>
          <p:cNvPr id="132" name="Rounded Rectangle 31">
            <a:extLst>
              <a:ext uri="{FF2B5EF4-FFF2-40B4-BE49-F238E27FC236}">
                <a16:creationId xmlns:a16="http://schemas.microsoft.com/office/drawing/2014/main" id="{C4702D20-AE96-4591-B64C-5F6124810436}"/>
              </a:ext>
            </a:extLst>
          </p:cNvPr>
          <p:cNvSpPr/>
          <p:nvPr/>
        </p:nvSpPr>
        <p:spPr bwMode="auto">
          <a:xfrm>
            <a:off x="8828317" y="853167"/>
            <a:ext cx="1196241" cy="261611"/>
          </a:xfrm>
          <a:prstGeom prst="roundRect">
            <a:avLst>
              <a:gd name="adj" fmla="val 3792"/>
            </a:avLst>
          </a:prstGeom>
          <a:solidFill>
            <a:srgbClr val="FFE48F"/>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name</a:t>
            </a:r>
          </a:p>
        </p:txBody>
      </p:sp>
      <p:sp>
        <p:nvSpPr>
          <p:cNvPr id="133" name="Rounded Rectangle 31">
            <a:extLst>
              <a:ext uri="{FF2B5EF4-FFF2-40B4-BE49-F238E27FC236}">
                <a16:creationId xmlns:a16="http://schemas.microsoft.com/office/drawing/2014/main" id="{3C778625-C3D1-48F2-9A33-8781BDF318D9}"/>
              </a:ext>
            </a:extLst>
          </p:cNvPr>
          <p:cNvSpPr/>
          <p:nvPr/>
        </p:nvSpPr>
        <p:spPr bwMode="auto">
          <a:xfrm>
            <a:off x="10197682" y="853167"/>
            <a:ext cx="1196241" cy="261611"/>
          </a:xfrm>
          <a:prstGeom prst="roundRect">
            <a:avLst>
              <a:gd name="adj" fmla="val 3792"/>
            </a:avLst>
          </a:prstGeom>
          <a:solidFill>
            <a:srgbClr val="D3EFCE"/>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name</a:t>
            </a:r>
          </a:p>
        </p:txBody>
      </p:sp>
      <p:sp>
        <p:nvSpPr>
          <p:cNvPr id="58" name="TextBox 43">
            <a:extLst>
              <a:ext uri="{FF2B5EF4-FFF2-40B4-BE49-F238E27FC236}">
                <a16:creationId xmlns:a16="http://schemas.microsoft.com/office/drawing/2014/main" id="{E7835114-5805-4825-95F0-387BA34A2F04}"/>
              </a:ext>
            </a:extLst>
          </p:cNvPr>
          <p:cNvSpPr txBox="1">
            <a:spLocks noChangeArrowheads="1"/>
          </p:cNvSpPr>
          <p:nvPr/>
        </p:nvSpPr>
        <p:spPr bwMode="auto">
          <a:xfrm>
            <a:off x="2662178" y="2336114"/>
            <a:ext cx="3360932" cy="1049789"/>
          </a:xfrm>
          <a:prstGeom prst="rect">
            <a:avLst/>
          </a:prstGeom>
          <a:noFill/>
          <a:ln w="9525">
            <a:noFill/>
            <a:miter lim="800000"/>
            <a:headEnd/>
            <a:tailEnd/>
          </a:ln>
        </p:spPr>
        <p:txBody>
          <a:bodyPr wrap="square" lIns="64275" tIns="32138" rIns="64275" bIns="32138">
            <a:spAutoFit/>
          </a:bodyPr>
          <a:lstStyle/>
          <a:p>
            <a:pPr algn="ctr"/>
            <a:r>
              <a:rPr lang="en-GB" sz="1600" dirty="0">
                <a:cs typeface="Arial" charset="0"/>
              </a:rPr>
              <a:t>Put enough work in with these people to keep them satisfied, but not so much that they become bored with your message.</a:t>
            </a:r>
            <a:endParaRPr lang="en-AU" sz="1600" dirty="0">
              <a:cs typeface="Arial" charset="0"/>
            </a:endParaRPr>
          </a:p>
        </p:txBody>
      </p:sp>
      <p:sp>
        <p:nvSpPr>
          <p:cNvPr id="59" name="TextBox 44">
            <a:extLst>
              <a:ext uri="{FF2B5EF4-FFF2-40B4-BE49-F238E27FC236}">
                <a16:creationId xmlns:a16="http://schemas.microsoft.com/office/drawing/2014/main" id="{EDA9BC40-59BA-4726-8DEB-1FF6CF517B5E}"/>
              </a:ext>
            </a:extLst>
          </p:cNvPr>
          <p:cNvSpPr txBox="1">
            <a:spLocks noChangeArrowheads="1"/>
          </p:cNvSpPr>
          <p:nvPr/>
        </p:nvSpPr>
        <p:spPr bwMode="auto">
          <a:xfrm>
            <a:off x="7186180" y="4320014"/>
            <a:ext cx="4382346" cy="1049789"/>
          </a:xfrm>
          <a:prstGeom prst="rect">
            <a:avLst/>
          </a:prstGeom>
          <a:noFill/>
          <a:ln w="9525">
            <a:noFill/>
            <a:miter lim="800000"/>
            <a:headEnd/>
            <a:tailEnd/>
          </a:ln>
        </p:spPr>
        <p:txBody>
          <a:bodyPr wrap="square" lIns="64275" tIns="32138" rIns="64275" bIns="32138">
            <a:spAutoFit/>
          </a:bodyPr>
          <a:lstStyle/>
          <a:p>
            <a:pPr algn="ctr"/>
            <a:r>
              <a:rPr lang="en-GB" sz="1600" dirty="0">
                <a:cs typeface="Arial" charset="0"/>
              </a:rPr>
              <a:t>Adequately inform these people, and talk to them to ensure that no major issues are arising. People in this category can often be very helpful with the detail of your project.</a:t>
            </a:r>
            <a:endParaRPr lang="en-AU" sz="1600" dirty="0">
              <a:cs typeface="Arial" charset="0"/>
            </a:endParaRPr>
          </a:p>
        </p:txBody>
      </p:sp>
      <p:sp>
        <p:nvSpPr>
          <p:cNvPr id="60" name="TextBox 42">
            <a:extLst>
              <a:ext uri="{FF2B5EF4-FFF2-40B4-BE49-F238E27FC236}">
                <a16:creationId xmlns:a16="http://schemas.microsoft.com/office/drawing/2014/main" id="{1BBCD685-4F11-4A6A-A314-ED3EED32F807}"/>
              </a:ext>
            </a:extLst>
          </p:cNvPr>
          <p:cNvSpPr txBox="1">
            <a:spLocks noChangeArrowheads="1"/>
          </p:cNvSpPr>
          <p:nvPr/>
        </p:nvSpPr>
        <p:spPr bwMode="auto">
          <a:xfrm>
            <a:off x="7233984" y="2459224"/>
            <a:ext cx="4186111" cy="803567"/>
          </a:xfrm>
          <a:prstGeom prst="rect">
            <a:avLst/>
          </a:prstGeom>
          <a:noFill/>
          <a:ln w="9525">
            <a:noFill/>
            <a:miter lim="800000"/>
            <a:headEnd/>
            <a:tailEnd/>
          </a:ln>
        </p:spPr>
        <p:txBody>
          <a:bodyPr wrap="square" lIns="64275" tIns="32138" rIns="64275" bIns="32138">
            <a:spAutoFit/>
          </a:bodyPr>
          <a:lstStyle/>
          <a:p>
            <a:pPr algn="ctr"/>
            <a:r>
              <a:rPr lang="en-GB" sz="1600" dirty="0">
                <a:cs typeface="Arial" charset="0"/>
              </a:rPr>
              <a:t>You must fully engage and collaborate with these people, and make the greatest efforts to satisfy them.</a:t>
            </a:r>
            <a:endParaRPr lang="en-AU" sz="1600" dirty="0">
              <a:cs typeface="Arial" charset="0"/>
            </a:endParaRPr>
          </a:p>
        </p:txBody>
      </p:sp>
      <p:sp>
        <p:nvSpPr>
          <p:cNvPr id="61" name="TextBox 43">
            <a:extLst>
              <a:ext uri="{FF2B5EF4-FFF2-40B4-BE49-F238E27FC236}">
                <a16:creationId xmlns:a16="http://schemas.microsoft.com/office/drawing/2014/main" id="{90562318-8F22-4950-AAFD-8BD4A7FD385A}"/>
              </a:ext>
            </a:extLst>
          </p:cNvPr>
          <p:cNvSpPr txBox="1">
            <a:spLocks noChangeArrowheads="1"/>
          </p:cNvSpPr>
          <p:nvPr/>
        </p:nvSpPr>
        <p:spPr bwMode="auto">
          <a:xfrm>
            <a:off x="2920686" y="4466515"/>
            <a:ext cx="2863656" cy="803567"/>
          </a:xfrm>
          <a:prstGeom prst="rect">
            <a:avLst/>
          </a:prstGeom>
          <a:noFill/>
          <a:ln w="9525">
            <a:noFill/>
            <a:miter lim="800000"/>
            <a:headEnd/>
            <a:tailEnd/>
          </a:ln>
        </p:spPr>
        <p:txBody>
          <a:bodyPr wrap="square" lIns="64275" tIns="32138" rIns="64275" bIns="32138">
            <a:spAutoFit/>
          </a:bodyPr>
          <a:lstStyle/>
          <a:p>
            <a:pPr algn="ctr"/>
            <a:r>
              <a:rPr lang="en-GB" sz="1600" dirty="0">
                <a:cs typeface="Arial" charset="0"/>
              </a:rPr>
              <a:t>Monitor these people, but don’t bore them with excessive communication.</a:t>
            </a:r>
            <a:endParaRPr lang="en-AU" sz="1600" dirty="0">
              <a:cs typeface="Arial" charset="0"/>
            </a:endParaRPr>
          </a:p>
        </p:txBody>
      </p:sp>
    </p:spTree>
    <p:extLst>
      <p:ext uri="{BB962C8B-B14F-4D97-AF65-F5344CB8AC3E}">
        <p14:creationId xmlns:p14="http://schemas.microsoft.com/office/powerpoint/2010/main" val="31751915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777714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115" y="365126"/>
            <a:ext cx="6771714" cy="1091318"/>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dirty="0">
                <a:solidFill>
                  <a:schemeClr val="tx1"/>
                </a:solidFill>
                <a:ea typeface="+mn-ea"/>
                <a:cs typeface="+mn-cs"/>
              </a:rPr>
              <a:t>Step 2:</a:t>
            </a:r>
            <a:r>
              <a:rPr kumimoji="0" lang="en-GB" b="1" i="0" u="none" strike="noStrike" kern="1200" cap="none" spc="0" normalizeH="0" baseline="0" noProof="0" dirty="0">
                <a:ln>
                  <a:noFill/>
                </a:ln>
                <a:solidFill>
                  <a:schemeClr val="tx1"/>
                </a:solidFill>
                <a:effectLst/>
                <a:uLnTx/>
                <a:uFillTx/>
                <a:ea typeface="+mn-ea"/>
                <a:cs typeface="+mn-cs"/>
              </a:rPr>
              <a:t> Segment your key stakeholders by leveraging our Stakeholder Analysis Matrix</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sp>
        <p:nvSpPr>
          <p:cNvPr id="32" name="Rounded Rectangle 31">
            <a:extLst>
              <a:ext uri="{FF2B5EF4-FFF2-40B4-BE49-F238E27FC236}">
                <a16:creationId xmlns:a16="http://schemas.microsoft.com/office/drawing/2014/main" id="{77C8B9FE-5149-44A2-9C03-07D804D83E7E}"/>
              </a:ext>
            </a:extLst>
          </p:cNvPr>
          <p:cNvSpPr/>
          <p:nvPr/>
        </p:nvSpPr>
        <p:spPr bwMode="auto">
          <a:xfrm>
            <a:off x="2181352" y="2078518"/>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45" name="TextBox 27">
            <a:extLst>
              <a:ext uri="{FF2B5EF4-FFF2-40B4-BE49-F238E27FC236}">
                <a16:creationId xmlns:a16="http://schemas.microsoft.com/office/drawing/2014/main" id="{4705B909-F094-4E27-8462-5070FB3C8438}"/>
              </a:ext>
            </a:extLst>
          </p:cNvPr>
          <p:cNvSpPr txBox="1">
            <a:spLocks noChangeArrowheads="1"/>
          </p:cNvSpPr>
          <p:nvPr/>
        </p:nvSpPr>
        <p:spPr bwMode="auto">
          <a:xfrm>
            <a:off x="4239390" y="6101936"/>
            <a:ext cx="4985661" cy="557346"/>
          </a:xfrm>
          <a:prstGeom prst="rect">
            <a:avLst/>
          </a:prstGeom>
          <a:noFill/>
          <a:ln w="9525">
            <a:noFill/>
            <a:miter lim="800000"/>
            <a:headEnd/>
            <a:tailEnd/>
          </a:ln>
        </p:spPr>
        <p:txBody>
          <a:bodyPr wrap="square" lIns="64275" tIns="32138" rIns="64275" bIns="32138">
            <a:spAutoFit/>
          </a:bodyPr>
          <a:lstStyle/>
          <a:p>
            <a:pPr algn="ctr">
              <a:spcBef>
                <a:spcPct val="50000"/>
              </a:spcBef>
            </a:pPr>
            <a:r>
              <a:rPr lang="en-AU" sz="1300" b="1" dirty="0">
                <a:cs typeface="Arial" charset="0"/>
              </a:rPr>
              <a:t>Impact</a:t>
            </a:r>
            <a:br>
              <a:rPr lang="en-AU" sz="1300" b="1" dirty="0">
                <a:cs typeface="Arial" charset="0"/>
              </a:rPr>
            </a:br>
            <a:r>
              <a:rPr lang="en-AU" sz="1300" i="1" dirty="0">
                <a:cs typeface="Arial" charset="0"/>
              </a:rPr>
              <a:t>Extent to which the project will impact this group/person</a:t>
            </a:r>
          </a:p>
          <a:p>
            <a:pPr algn="ctr"/>
            <a:endParaRPr lang="en-AU" sz="600" b="1" dirty="0">
              <a:cs typeface="Arial" charset="0"/>
            </a:endParaRPr>
          </a:p>
        </p:txBody>
      </p:sp>
      <p:sp>
        <p:nvSpPr>
          <p:cNvPr id="46" name="TextBox 28">
            <a:extLst>
              <a:ext uri="{FF2B5EF4-FFF2-40B4-BE49-F238E27FC236}">
                <a16:creationId xmlns:a16="http://schemas.microsoft.com/office/drawing/2014/main" id="{C433C980-B246-49AC-A1F3-5756EE2DA2ED}"/>
              </a:ext>
            </a:extLst>
          </p:cNvPr>
          <p:cNvSpPr txBox="1">
            <a:spLocks noChangeArrowheads="1"/>
          </p:cNvSpPr>
          <p:nvPr/>
        </p:nvSpPr>
        <p:spPr bwMode="auto">
          <a:xfrm>
            <a:off x="1345403" y="1575481"/>
            <a:ext cx="484070"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sp>
        <p:nvSpPr>
          <p:cNvPr id="47" name="TextBox 30">
            <a:extLst>
              <a:ext uri="{FF2B5EF4-FFF2-40B4-BE49-F238E27FC236}">
                <a16:creationId xmlns:a16="http://schemas.microsoft.com/office/drawing/2014/main" id="{FF0DCE74-6C68-4FE8-B9BC-EBBB0AE6D7E1}"/>
              </a:ext>
            </a:extLst>
          </p:cNvPr>
          <p:cNvSpPr txBox="1">
            <a:spLocks noChangeArrowheads="1"/>
          </p:cNvSpPr>
          <p:nvPr/>
        </p:nvSpPr>
        <p:spPr bwMode="auto">
          <a:xfrm>
            <a:off x="1710258" y="6002411"/>
            <a:ext cx="408728"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low</a:t>
            </a:r>
          </a:p>
        </p:txBody>
      </p:sp>
      <p:sp>
        <p:nvSpPr>
          <p:cNvPr id="48" name="TextBox 43">
            <a:extLst>
              <a:ext uri="{FF2B5EF4-FFF2-40B4-BE49-F238E27FC236}">
                <a16:creationId xmlns:a16="http://schemas.microsoft.com/office/drawing/2014/main" id="{15866024-AF79-4213-8B1A-136E17B43D5F}"/>
              </a:ext>
            </a:extLst>
          </p:cNvPr>
          <p:cNvSpPr txBox="1">
            <a:spLocks noChangeArrowheads="1"/>
          </p:cNvSpPr>
          <p:nvPr/>
        </p:nvSpPr>
        <p:spPr bwMode="auto">
          <a:xfrm>
            <a:off x="3159098" y="1617004"/>
            <a:ext cx="2386833"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Maintain Confidence</a:t>
            </a:r>
          </a:p>
        </p:txBody>
      </p:sp>
      <p:sp>
        <p:nvSpPr>
          <p:cNvPr id="49" name="TextBox 44">
            <a:extLst>
              <a:ext uri="{FF2B5EF4-FFF2-40B4-BE49-F238E27FC236}">
                <a16:creationId xmlns:a16="http://schemas.microsoft.com/office/drawing/2014/main" id="{8E8144B8-DE60-4898-A390-DDAB274DFD00}"/>
              </a:ext>
            </a:extLst>
          </p:cNvPr>
          <p:cNvSpPr txBox="1">
            <a:spLocks noChangeArrowheads="1"/>
          </p:cNvSpPr>
          <p:nvPr/>
        </p:nvSpPr>
        <p:spPr bwMode="auto">
          <a:xfrm>
            <a:off x="8367323" y="3745818"/>
            <a:ext cx="1745632"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Keep Informed</a:t>
            </a:r>
          </a:p>
        </p:txBody>
      </p:sp>
      <p:sp>
        <p:nvSpPr>
          <p:cNvPr id="50" name="TextBox 42">
            <a:extLst>
              <a:ext uri="{FF2B5EF4-FFF2-40B4-BE49-F238E27FC236}">
                <a16:creationId xmlns:a16="http://schemas.microsoft.com/office/drawing/2014/main" id="{021A7501-6AAB-40F6-B45B-D5EE90117B55}"/>
              </a:ext>
            </a:extLst>
          </p:cNvPr>
          <p:cNvSpPr txBox="1">
            <a:spLocks noChangeArrowheads="1"/>
          </p:cNvSpPr>
          <p:nvPr/>
        </p:nvSpPr>
        <p:spPr bwMode="auto">
          <a:xfrm>
            <a:off x="8540447" y="1617004"/>
            <a:ext cx="1399384"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Collaborate</a:t>
            </a:r>
          </a:p>
        </p:txBody>
      </p:sp>
      <p:sp>
        <p:nvSpPr>
          <p:cNvPr id="51" name="TextBox 43">
            <a:extLst>
              <a:ext uri="{FF2B5EF4-FFF2-40B4-BE49-F238E27FC236}">
                <a16:creationId xmlns:a16="http://schemas.microsoft.com/office/drawing/2014/main" id="{0FA74DED-0524-47B0-A2AB-F8328467651E}"/>
              </a:ext>
            </a:extLst>
          </p:cNvPr>
          <p:cNvSpPr txBox="1">
            <a:spLocks noChangeArrowheads="1"/>
          </p:cNvSpPr>
          <p:nvPr/>
        </p:nvSpPr>
        <p:spPr bwMode="auto">
          <a:xfrm>
            <a:off x="3101390" y="3759080"/>
            <a:ext cx="2502250" cy="341903"/>
          </a:xfrm>
          <a:prstGeom prst="rect">
            <a:avLst/>
          </a:prstGeom>
          <a:noFill/>
          <a:ln w="9525">
            <a:noFill/>
            <a:miter lim="800000"/>
            <a:headEnd/>
            <a:tailEnd/>
          </a:ln>
        </p:spPr>
        <p:txBody>
          <a:bodyPr wrap="none" lIns="64275" tIns="32138" rIns="64275" bIns="32138">
            <a:spAutoFit/>
          </a:bodyPr>
          <a:lstStyle/>
          <a:p>
            <a:pPr algn="ctr"/>
            <a:r>
              <a:rPr lang="en-AU" b="1" dirty="0">
                <a:cs typeface="Arial" charset="0"/>
              </a:rPr>
              <a:t>Monitor and Respond</a:t>
            </a:r>
          </a:p>
        </p:txBody>
      </p:sp>
      <p:cxnSp>
        <p:nvCxnSpPr>
          <p:cNvPr id="53" name="Straight Arrow Connector 21">
            <a:extLst>
              <a:ext uri="{FF2B5EF4-FFF2-40B4-BE49-F238E27FC236}">
                <a16:creationId xmlns:a16="http://schemas.microsoft.com/office/drawing/2014/main" id="{59056C98-B5BA-40F9-A432-B7B9C998BC04}"/>
              </a:ext>
            </a:extLst>
          </p:cNvPr>
          <p:cNvCxnSpPr>
            <a:cxnSpLocks noChangeShapeType="1"/>
          </p:cNvCxnSpPr>
          <p:nvPr/>
        </p:nvCxnSpPr>
        <p:spPr bwMode="auto">
          <a:xfrm flipV="1">
            <a:off x="1897080" y="3739197"/>
            <a:ext cx="9529209" cy="4876"/>
          </a:xfrm>
          <a:prstGeom prst="straightConnector1">
            <a:avLst/>
          </a:prstGeom>
          <a:noFill/>
          <a:ln w="19050">
            <a:solidFill>
              <a:schemeClr val="bg1">
                <a:lumMod val="85000"/>
              </a:schemeClr>
            </a:solidFill>
            <a:round/>
            <a:headEnd/>
            <a:tailEnd type="none" w="med" len="med"/>
          </a:ln>
        </p:spPr>
      </p:cxnSp>
      <p:cxnSp>
        <p:nvCxnSpPr>
          <p:cNvPr id="54" name="Straight Arrow Connector 20">
            <a:extLst>
              <a:ext uri="{FF2B5EF4-FFF2-40B4-BE49-F238E27FC236}">
                <a16:creationId xmlns:a16="http://schemas.microsoft.com/office/drawing/2014/main" id="{3E366202-1516-4E2B-8C02-57AD0E3DE466}"/>
              </a:ext>
            </a:extLst>
          </p:cNvPr>
          <p:cNvCxnSpPr>
            <a:cxnSpLocks noChangeShapeType="1"/>
          </p:cNvCxnSpPr>
          <p:nvPr/>
        </p:nvCxnSpPr>
        <p:spPr bwMode="auto">
          <a:xfrm flipH="1" flipV="1">
            <a:off x="6684511" y="1707960"/>
            <a:ext cx="0" cy="4249492"/>
          </a:xfrm>
          <a:prstGeom prst="straightConnector1">
            <a:avLst/>
          </a:prstGeom>
          <a:ln w="19050">
            <a:headEnd/>
            <a:tailEnd type="none" w="med" len="med"/>
          </a:ln>
        </p:spPr>
        <p:style>
          <a:lnRef idx="2">
            <a:schemeClr val="accent4"/>
          </a:lnRef>
          <a:fillRef idx="0">
            <a:schemeClr val="accent4"/>
          </a:fillRef>
          <a:effectRef idx="1">
            <a:schemeClr val="accent4"/>
          </a:effectRef>
          <a:fontRef idx="minor">
            <a:schemeClr val="tx1"/>
          </a:fontRef>
        </p:style>
      </p:cxnSp>
      <p:cxnSp>
        <p:nvCxnSpPr>
          <p:cNvPr id="55" name="Straight Arrow Connector 20">
            <a:extLst>
              <a:ext uri="{FF2B5EF4-FFF2-40B4-BE49-F238E27FC236}">
                <a16:creationId xmlns:a16="http://schemas.microsoft.com/office/drawing/2014/main" id="{BB26BD6D-ADAD-41FE-A83E-69C7C9BAD262}"/>
              </a:ext>
            </a:extLst>
          </p:cNvPr>
          <p:cNvCxnSpPr>
            <a:cxnSpLocks noChangeShapeType="1"/>
          </p:cNvCxnSpPr>
          <p:nvPr/>
        </p:nvCxnSpPr>
        <p:spPr bwMode="auto">
          <a:xfrm flipV="1">
            <a:off x="1897078" y="1641939"/>
            <a:ext cx="0" cy="4315513"/>
          </a:xfrm>
          <a:prstGeom prst="straightConnector1">
            <a:avLst/>
          </a:prstGeom>
          <a:noFill/>
          <a:ln w="25400">
            <a:solidFill>
              <a:schemeClr val="tx1"/>
            </a:solidFill>
            <a:round/>
            <a:headEnd/>
            <a:tailEnd type="arrow" w="med" len="med"/>
          </a:ln>
        </p:spPr>
      </p:cxnSp>
      <p:cxnSp>
        <p:nvCxnSpPr>
          <p:cNvPr id="56" name="Straight Arrow Connector 21">
            <a:extLst>
              <a:ext uri="{FF2B5EF4-FFF2-40B4-BE49-F238E27FC236}">
                <a16:creationId xmlns:a16="http://schemas.microsoft.com/office/drawing/2014/main" id="{6E3867E8-F754-4326-9D42-38736359E90F}"/>
              </a:ext>
            </a:extLst>
          </p:cNvPr>
          <p:cNvCxnSpPr>
            <a:cxnSpLocks noChangeShapeType="1"/>
          </p:cNvCxnSpPr>
          <p:nvPr/>
        </p:nvCxnSpPr>
        <p:spPr bwMode="auto">
          <a:xfrm flipV="1">
            <a:off x="1897081" y="5957451"/>
            <a:ext cx="9529208" cy="1"/>
          </a:xfrm>
          <a:prstGeom prst="straightConnector1">
            <a:avLst/>
          </a:prstGeom>
          <a:noFill/>
          <a:ln w="25400">
            <a:solidFill>
              <a:schemeClr val="tx1"/>
            </a:solidFill>
            <a:round/>
            <a:headEnd/>
            <a:tailEnd type="arrow" w="med" len="med"/>
          </a:ln>
        </p:spPr>
      </p:cxnSp>
      <p:sp>
        <p:nvSpPr>
          <p:cNvPr id="57" name="TextBox 56">
            <a:extLst>
              <a:ext uri="{FF2B5EF4-FFF2-40B4-BE49-F238E27FC236}">
                <a16:creationId xmlns:a16="http://schemas.microsoft.com/office/drawing/2014/main" id="{D0871517-2C90-44F0-B6FD-EBDCC938BE9C}"/>
              </a:ext>
            </a:extLst>
          </p:cNvPr>
          <p:cNvSpPr txBox="1">
            <a:spLocks noChangeArrowheads="1"/>
          </p:cNvSpPr>
          <p:nvPr/>
        </p:nvSpPr>
        <p:spPr bwMode="auto">
          <a:xfrm>
            <a:off x="11030684" y="6013138"/>
            <a:ext cx="484070"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sp>
        <p:nvSpPr>
          <p:cNvPr id="113" name="Rounded Rectangle 31">
            <a:extLst>
              <a:ext uri="{FF2B5EF4-FFF2-40B4-BE49-F238E27FC236}">
                <a16:creationId xmlns:a16="http://schemas.microsoft.com/office/drawing/2014/main" id="{A25F7426-C83A-4996-8F55-11E09AB514FD}"/>
              </a:ext>
            </a:extLst>
          </p:cNvPr>
          <p:cNvSpPr/>
          <p:nvPr/>
        </p:nvSpPr>
        <p:spPr bwMode="auto">
          <a:xfrm>
            <a:off x="3707440" y="2078518"/>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14" name="Rounded Rectangle 31">
            <a:extLst>
              <a:ext uri="{FF2B5EF4-FFF2-40B4-BE49-F238E27FC236}">
                <a16:creationId xmlns:a16="http://schemas.microsoft.com/office/drawing/2014/main" id="{617136ED-CBDB-4E11-8547-F8973B50CB97}"/>
              </a:ext>
            </a:extLst>
          </p:cNvPr>
          <p:cNvSpPr/>
          <p:nvPr/>
        </p:nvSpPr>
        <p:spPr bwMode="auto">
          <a:xfrm>
            <a:off x="5233528" y="2078518"/>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15" name="Rounded Rectangle 31">
            <a:extLst>
              <a:ext uri="{FF2B5EF4-FFF2-40B4-BE49-F238E27FC236}">
                <a16:creationId xmlns:a16="http://schemas.microsoft.com/office/drawing/2014/main" id="{9EE5EBFC-A934-414B-975C-CE01B940B6CD}"/>
              </a:ext>
            </a:extLst>
          </p:cNvPr>
          <p:cNvSpPr/>
          <p:nvPr/>
        </p:nvSpPr>
        <p:spPr bwMode="auto">
          <a:xfrm>
            <a:off x="2181352" y="2645458"/>
            <a:ext cx="1196241" cy="407187"/>
          </a:xfrm>
          <a:prstGeom prst="roundRect">
            <a:avLst>
              <a:gd name="adj" fmla="val 3792"/>
            </a:avLst>
          </a:prstGeom>
          <a:solidFill>
            <a:srgbClr val="FFE48F"/>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16" name="Rounded Rectangle 31">
            <a:extLst>
              <a:ext uri="{FF2B5EF4-FFF2-40B4-BE49-F238E27FC236}">
                <a16:creationId xmlns:a16="http://schemas.microsoft.com/office/drawing/2014/main" id="{F68210B4-67B6-4786-91C0-6D58CED7FF49}"/>
              </a:ext>
            </a:extLst>
          </p:cNvPr>
          <p:cNvSpPr/>
          <p:nvPr/>
        </p:nvSpPr>
        <p:spPr bwMode="auto">
          <a:xfrm>
            <a:off x="3707440" y="2645458"/>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17" name="Rounded Rectangle 31">
            <a:extLst>
              <a:ext uri="{FF2B5EF4-FFF2-40B4-BE49-F238E27FC236}">
                <a16:creationId xmlns:a16="http://schemas.microsoft.com/office/drawing/2014/main" id="{091F03B6-C2C5-4F9A-B53A-966DD031D465}"/>
              </a:ext>
            </a:extLst>
          </p:cNvPr>
          <p:cNvSpPr/>
          <p:nvPr/>
        </p:nvSpPr>
        <p:spPr bwMode="auto">
          <a:xfrm>
            <a:off x="5233528" y="2645458"/>
            <a:ext cx="1196241" cy="407187"/>
          </a:xfrm>
          <a:prstGeom prst="roundRect">
            <a:avLst>
              <a:gd name="adj" fmla="val 3792"/>
            </a:avLst>
          </a:prstGeom>
          <a:solidFill>
            <a:srgbClr val="FFE48F"/>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18" name="Rounded Rectangle 31">
            <a:extLst>
              <a:ext uri="{FF2B5EF4-FFF2-40B4-BE49-F238E27FC236}">
                <a16:creationId xmlns:a16="http://schemas.microsoft.com/office/drawing/2014/main" id="{94542872-64CB-48E3-87C2-10EBD587FB69}"/>
              </a:ext>
            </a:extLst>
          </p:cNvPr>
          <p:cNvSpPr/>
          <p:nvPr/>
        </p:nvSpPr>
        <p:spPr bwMode="auto">
          <a:xfrm>
            <a:off x="2181352" y="3195947"/>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19" name="Rounded Rectangle 31">
            <a:extLst>
              <a:ext uri="{FF2B5EF4-FFF2-40B4-BE49-F238E27FC236}">
                <a16:creationId xmlns:a16="http://schemas.microsoft.com/office/drawing/2014/main" id="{0C540759-0E6E-46EA-AC26-6EB59BE2DF5D}"/>
              </a:ext>
            </a:extLst>
          </p:cNvPr>
          <p:cNvSpPr/>
          <p:nvPr/>
        </p:nvSpPr>
        <p:spPr bwMode="auto">
          <a:xfrm>
            <a:off x="3707440" y="3195947"/>
            <a:ext cx="1196241" cy="407187"/>
          </a:xfrm>
          <a:prstGeom prst="roundRect">
            <a:avLst>
              <a:gd name="adj" fmla="val 3792"/>
            </a:avLst>
          </a:prstGeom>
          <a:solidFill>
            <a:srgbClr val="FFE48F"/>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20" name="Rounded Rectangle 31">
            <a:extLst>
              <a:ext uri="{FF2B5EF4-FFF2-40B4-BE49-F238E27FC236}">
                <a16:creationId xmlns:a16="http://schemas.microsoft.com/office/drawing/2014/main" id="{DE186239-6A2C-45CC-95C3-B4F22178B13C}"/>
              </a:ext>
            </a:extLst>
          </p:cNvPr>
          <p:cNvSpPr/>
          <p:nvPr/>
        </p:nvSpPr>
        <p:spPr bwMode="auto">
          <a:xfrm>
            <a:off x="5233528" y="3195947"/>
            <a:ext cx="1196241" cy="407187"/>
          </a:xfrm>
          <a:prstGeom prst="roundRect">
            <a:avLst>
              <a:gd name="adj" fmla="val 3792"/>
            </a:avLst>
          </a:prstGeom>
          <a:solidFill>
            <a:srgbClr val="FFE48F"/>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21" name="TextBox 27">
            <a:extLst>
              <a:ext uri="{FF2B5EF4-FFF2-40B4-BE49-F238E27FC236}">
                <a16:creationId xmlns:a16="http://schemas.microsoft.com/office/drawing/2014/main" id="{BD4D2543-5708-42A2-8EE2-B377DF9385FB}"/>
              </a:ext>
            </a:extLst>
          </p:cNvPr>
          <p:cNvSpPr txBox="1">
            <a:spLocks noChangeArrowheads="1"/>
          </p:cNvSpPr>
          <p:nvPr/>
        </p:nvSpPr>
        <p:spPr bwMode="auto">
          <a:xfrm>
            <a:off x="202388" y="3206608"/>
            <a:ext cx="1746540" cy="1065178"/>
          </a:xfrm>
          <a:prstGeom prst="rect">
            <a:avLst/>
          </a:prstGeom>
          <a:noFill/>
          <a:ln w="9525">
            <a:noFill/>
            <a:miter lim="800000"/>
            <a:headEnd/>
            <a:tailEnd/>
          </a:ln>
        </p:spPr>
        <p:txBody>
          <a:bodyPr wrap="square" lIns="64275" tIns="32138" rIns="64275" bIns="32138">
            <a:spAutoFit/>
          </a:bodyPr>
          <a:lstStyle/>
          <a:p>
            <a:pPr algn="ctr" eaLnBrk="1" hangingPunct="1">
              <a:defRPr/>
            </a:pPr>
            <a:r>
              <a:rPr lang="en-AU" sz="1300" b="1" dirty="0">
                <a:latin typeface="+mn-lt"/>
                <a:cs typeface="Arial"/>
              </a:rPr>
              <a:t>Influence</a:t>
            </a:r>
          </a:p>
          <a:p>
            <a:pPr algn="ctr" eaLnBrk="1" hangingPunct="1">
              <a:defRPr/>
            </a:pPr>
            <a:r>
              <a:rPr lang="en-AU" sz="1300" i="1" dirty="0">
                <a:latin typeface="+mn-lt"/>
                <a:cs typeface="Arial"/>
              </a:rPr>
              <a:t>Extent to which this group or person’s buy-in is needed to move forward</a:t>
            </a:r>
          </a:p>
        </p:txBody>
      </p:sp>
      <p:sp>
        <p:nvSpPr>
          <p:cNvPr id="6" name="TextBox 5">
            <a:extLst>
              <a:ext uri="{FF2B5EF4-FFF2-40B4-BE49-F238E27FC236}">
                <a16:creationId xmlns:a16="http://schemas.microsoft.com/office/drawing/2014/main" id="{DEB285D0-8F6C-4E31-8EF4-24D043585532}"/>
              </a:ext>
            </a:extLst>
          </p:cNvPr>
          <p:cNvSpPr txBox="1"/>
          <p:nvPr/>
        </p:nvSpPr>
        <p:spPr>
          <a:xfrm>
            <a:off x="7458952" y="535292"/>
            <a:ext cx="3934972" cy="261610"/>
          </a:xfrm>
          <a:prstGeom prst="rect">
            <a:avLst/>
          </a:prstGeom>
          <a:noFill/>
        </p:spPr>
        <p:txBody>
          <a:bodyPr wrap="square" rtlCol="0">
            <a:spAutoFit/>
          </a:bodyPr>
          <a:lstStyle/>
          <a:p>
            <a:pPr algn="ctr"/>
            <a:r>
              <a:rPr lang="en-AU" sz="1100" b="1" dirty="0">
                <a:solidFill>
                  <a:schemeClr val="tx1"/>
                </a:solidFill>
                <a:latin typeface="Arial" pitchFamily="34" charset="0"/>
                <a:cs typeface="Arial" pitchFamily="34" charset="0"/>
              </a:rPr>
              <a:t>Who must be in contact with the group or person?</a:t>
            </a:r>
            <a:endParaRPr lang="en-AU" dirty="0"/>
          </a:p>
        </p:txBody>
      </p:sp>
      <p:sp>
        <p:nvSpPr>
          <p:cNvPr id="131" name="Rounded Rectangle 31">
            <a:extLst>
              <a:ext uri="{FF2B5EF4-FFF2-40B4-BE49-F238E27FC236}">
                <a16:creationId xmlns:a16="http://schemas.microsoft.com/office/drawing/2014/main" id="{C76B7FBD-575B-4C5A-8FB1-1F63D05FA9D3}"/>
              </a:ext>
            </a:extLst>
          </p:cNvPr>
          <p:cNvSpPr/>
          <p:nvPr/>
        </p:nvSpPr>
        <p:spPr bwMode="auto">
          <a:xfrm>
            <a:off x="7458952" y="853167"/>
            <a:ext cx="1196241" cy="261611"/>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name</a:t>
            </a:r>
          </a:p>
        </p:txBody>
      </p:sp>
      <p:sp>
        <p:nvSpPr>
          <p:cNvPr id="132" name="Rounded Rectangle 31">
            <a:extLst>
              <a:ext uri="{FF2B5EF4-FFF2-40B4-BE49-F238E27FC236}">
                <a16:creationId xmlns:a16="http://schemas.microsoft.com/office/drawing/2014/main" id="{C4702D20-AE96-4591-B64C-5F6124810436}"/>
              </a:ext>
            </a:extLst>
          </p:cNvPr>
          <p:cNvSpPr/>
          <p:nvPr/>
        </p:nvSpPr>
        <p:spPr bwMode="auto">
          <a:xfrm>
            <a:off x="8828317" y="853167"/>
            <a:ext cx="1196241" cy="261611"/>
          </a:xfrm>
          <a:prstGeom prst="roundRect">
            <a:avLst>
              <a:gd name="adj" fmla="val 3792"/>
            </a:avLst>
          </a:prstGeom>
          <a:solidFill>
            <a:srgbClr val="FFE48F"/>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name</a:t>
            </a:r>
          </a:p>
        </p:txBody>
      </p:sp>
      <p:sp>
        <p:nvSpPr>
          <p:cNvPr id="133" name="Rounded Rectangle 31">
            <a:extLst>
              <a:ext uri="{FF2B5EF4-FFF2-40B4-BE49-F238E27FC236}">
                <a16:creationId xmlns:a16="http://schemas.microsoft.com/office/drawing/2014/main" id="{3C778625-C3D1-48F2-9A33-8781BDF318D9}"/>
              </a:ext>
            </a:extLst>
          </p:cNvPr>
          <p:cNvSpPr/>
          <p:nvPr/>
        </p:nvSpPr>
        <p:spPr bwMode="auto">
          <a:xfrm>
            <a:off x="10197682" y="853167"/>
            <a:ext cx="1196241" cy="261611"/>
          </a:xfrm>
          <a:prstGeom prst="roundRect">
            <a:avLst>
              <a:gd name="adj" fmla="val 3792"/>
            </a:avLst>
          </a:prstGeom>
          <a:solidFill>
            <a:srgbClr val="D3EFCE"/>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name</a:t>
            </a:r>
          </a:p>
        </p:txBody>
      </p:sp>
      <p:sp>
        <p:nvSpPr>
          <p:cNvPr id="134" name="Rounded Rectangle 31">
            <a:extLst>
              <a:ext uri="{FF2B5EF4-FFF2-40B4-BE49-F238E27FC236}">
                <a16:creationId xmlns:a16="http://schemas.microsoft.com/office/drawing/2014/main" id="{9F7B0102-BF60-409B-805B-AF8E279D995D}"/>
              </a:ext>
            </a:extLst>
          </p:cNvPr>
          <p:cNvSpPr/>
          <p:nvPr/>
        </p:nvSpPr>
        <p:spPr bwMode="auto">
          <a:xfrm>
            <a:off x="7154745" y="2078518"/>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35" name="Rounded Rectangle 31">
            <a:extLst>
              <a:ext uri="{FF2B5EF4-FFF2-40B4-BE49-F238E27FC236}">
                <a16:creationId xmlns:a16="http://schemas.microsoft.com/office/drawing/2014/main" id="{57207B5B-D1F3-4165-913A-654F2037E3F7}"/>
              </a:ext>
            </a:extLst>
          </p:cNvPr>
          <p:cNvSpPr/>
          <p:nvPr/>
        </p:nvSpPr>
        <p:spPr bwMode="auto">
          <a:xfrm>
            <a:off x="8680833" y="2078518"/>
            <a:ext cx="1196241" cy="407187"/>
          </a:xfrm>
          <a:prstGeom prst="roundRect">
            <a:avLst>
              <a:gd name="adj" fmla="val 3792"/>
            </a:avLst>
          </a:prstGeom>
          <a:solidFill>
            <a:srgbClr val="FFE48F"/>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36" name="Rounded Rectangle 31">
            <a:extLst>
              <a:ext uri="{FF2B5EF4-FFF2-40B4-BE49-F238E27FC236}">
                <a16:creationId xmlns:a16="http://schemas.microsoft.com/office/drawing/2014/main" id="{DD11B4CC-8375-4E46-9695-8945699A76EB}"/>
              </a:ext>
            </a:extLst>
          </p:cNvPr>
          <p:cNvSpPr/>
          <p:nvPr/>
        </p:nvSpPr>
        <p:spPr bwMode="auto">
          <a:xfrm>
            <a:off x="10206921" y="2078518"/>
            <a:ext cx="1196241" cy="407187"/>
          </a:xfrm>
          <a:prstGeom prst="roundRect">
            <a:avLst>
              <a:gd name="adj" fmla="val 3792"/>
            </a:avLst>
          </a:prstGeom>
          <a:solidFill>
            <a:srgbClr val="D3EFCE"/>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37" name="Rounded Rectangle 31">
            <a:extLst>
              <a:ext uri="{FF2B5EF4-FFF2-40B4-BE49-F238E27FC236}">
                <a16:creationId xmlns:a16="http://schemas.microsoft.com/office/drawing/2014/main" id="{09F2F1FD-0DD4-4BC9-A134-FA6F6B3532F5}"/>
              </a:ext>
            </a:extLst>
          </p:cNvPr>
          <p:cNvSpPr/>
          <p:nvPr/>
        </p:nvSpPr>
        <p:spPr bwMode="auto">
          <a:xfrm>
            <a:off x="7154745" y="2645458"/>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38" name="Rounded Rectangle 31">
            <a:extLst>
              <a:ext uri="{FF2B5EF4-FFF2-40B4-BE49-F238E27FC236}">
                <a16:creationId xmlns:a16="http://schemas.microsoft.com/office/drawing/2014/main" id="{CB843DD2-5ED4-4834-BCF3-CF9547B98AD8}"/>
              </a:ext>
            </a:extLst>
          </p:cNvPr>
          <p:cNvSpPr/>
          <p:nvPr/>
        </p:nvSpPr>
        <p:spPr bwMode="auto">
          <a:xfrm>
            <a:off x="8680833" y="2645458"/>
            <a:ext cx="1196241" cy="407187"/>
          </a:xfrm>
          <a:prstGeom prst="roundRect">
            <a:avLst>
              <a:gd name="adj" fmla="val 3792"/>
            </a:avLst>
          </a:prstGeom>
          <a:solidFill>
            <a:srgbClr val="FFE48F"/>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39" name="Rounded Rectangle 31">
            <a:extLst>
              <a:ext uri="{FF2B5EF4-FFF2-40B4-BE49-F238E27FC236}">
                <a16:creationId xmlns:a16="http://schemas.microsoft.com/office/drawing/2014/main" id="{878081A9-CE92-4D3B-826A-E4691FA892B6}"/>
              </a:ext>
            </a:extLst>
          </p:cNvPr>
          <p:cNvSpPr/>
          <p:nvPr/>
        </p:nvSpPr>
        <p:spPr bwMode="auto">
          <a:xfrm>
            <a:off x="10206921" y="2645458"/>
            <a:ext cx="1196241" cy="407187"/>
          </a:xfrm>
          <a:prstGeom prst="roundRect">
            <a:avLst>
              <a:gd name="adj" fmla="val 3792"/>
            </a:avLst>
          </a:prstGeom>
          <a:solidFill>
            <a:srgbClr val="D3EFCE"/>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40" name="Rounded Rectangle 31">
            <a:extLst>
              <a:ext uri="{FF2B5EF4-FFF2-40B4-BE49-F238E27FC236}">
                <a16:creationId xmlns:a16="http://schemas.microsoft.com/office/drawing/2014/main" id="{FC3954BD-DE92-41AD-B346-CC4FDE7DA8DD}"/>
              </a:ext>
            </a:extLst>
          </p:cNvPr>
          <p:cNvSpPr/>
          <p:nvPr/>
        </p:nvSpPr>
        <p:spPr bwMode="auto">
          <a:xfrm>
            <a:off x="7154745" y="3195947"/>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41" name="Rounded Rectangle 31">
            <a:extLst>
              <a:ext uri="{FF2B5EF4-FFF2-40B4-BE49-F238E27FC236}">
                <a16:creationId xmlns:a16="http://schemas.microsoft.com/office/drawing/2014/main" id="{40267ADE-78B5-4E46-9230-EEC44DCF8915}"/>
              </a:ext>
            </a:extLst>
          </p:cNvPr>
          <p:cNvSpPr/>
          <p:nvPr/>
        </p:nvSpPr>
        <p:spPr bwMode="auto">
          <a:xfrm>
            <a:off x="8680833" y="3195947"/>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42" name="Rounded Rectangle 31">
            <a:extLst>
              <a:ext uri="{FF2B5EF4-FFF2-40B4-BE49-F238E27FC236}">
                <a16:creationId xmlns:a16="http://schemas.microsoft.com/office/drawing/2014/main" id="{97AC1EF8-79EC-4B9C-B7F5-6A01790A6CFC}"/>
              </a:ext>
            </a:extLst>
          </p:cNvPr>
          <p:cNvSpPr/>
          <p:nvPr/>
        </p:nvSpPr>
        <p:spPr bwMode="auto">
          <a:xfrm>
            <a:off x="10206921" y="3195947"/>
            <a:ext cx="1196241" cy="407187"/>
          </a:xfrm>
          <a:prstGeom prst="roundRect">
            <a:avLst>
              <a:gd name="adj" fmla="val 3792"/>
            </a:avLst>
          </a:prstGeom>
          <a:solidFill>
            <a:srgbClr val="D3EFCE"/>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43" name="Rounded Rectangle 31">
            <a:extLst>
              <a:ext uri="{FF2B5EF4-FFF2-40B4-BE49-F238E27FC236}">
                <a16:creationId xmlns:a16="http://schemas.microsoft.com/office/drawing/2014/main" id="{CBA393DC-374A-45EC-9D5C-DD66DBC27679}"/>
              </a:ext>
            </a:extLst>
          </p:cNvPr>
          <p:cNvSpPr/>
          <p:nvPr/>
        </p:nvSpPr>
        <p:spPr bwMode="auto">
          <a:xfrm>
            <a:off x="2181352" y="4260428"/>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44" name="Rounded Rectangle 31">
            <a:extLst>
              <a:ext uri="{FF2B5EF4-FFF2-40B4-BE49-F238E27FC236}">
                <a16:creationId xmlns:a16="http://schemas.microsoft.com/office/drawing/2014/main" id="{24EBFD13-D8FA-4BB2-8E82-E3DC84588609}"/>
              </a:ext>
            </a:extLst>
          </p:cNvPr>
          <p:cNvSpPr/>
          <p:nvPr/>
        </p:nvSpPr>
        <p:spPr bwMode="auto">
          <a:xfrm>
            <a:off x="3707440" y="4260428"/>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45" name="Rounded Rectangle 31">
            <a:extLst>
              <a:ext uri="{FF2B5EF4-FFF2-40B4-BE49-F238E27FC236}">
                <a16:creationId xmlns:a16="http://schemas.microsoft.com/office/drawing/2014/main" id="{B0B0B941-236C-404F-B06F-D297AE66A220}"/>
              </a:ext>
            </a:extLst>
          </p:cNvPr>
          <p:cNvSpPr/>
          <p:nvPr/>
        </p:nvSpPr>
        <p:spPr bwMode="auto">
          <a:xfrm>
            <a:off x="5233528" y="4260428"/>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46" name="Rounded Rectangle 31">
            <a:extLst>
              <a:ext uri="{FF2B5EF4-FFF2-40B4-BE49-F238E27FC236}">
                <a16:creationId xmlns:a16="http://schemas.microsoft.com/office/drawing/2014/main" id="{1810207E-BE89-4502-AE0B-98BF06074BB0}"/>
              </a:ext>
            </a:extLst>
          </p:cNvPr>
          <p:cNvSpPr/>
          <p:nvPr/>
        </p:nvSpPr>
        <p:spPr bwMode="auto">
          <a:xfrm>
            <a:off x="2181352" y="4827368"/>
            <a:ext cx="1196241" cy="407187"/>
          </a:xfrm>
          <a:prstGeom prst="roundRect">
            <a:avLst>
              <a:gd name="adj" fmla="val 3792"/>
            </a:avLst>
          </a:prstGeom>
          <a:solidFill>
            <a:srgbClr val="FFE48F"/>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47" name="Rounded Rectangle 31">
            <a:extLst>
              <a:ext uri="{FF2B5EF4-FFF2-40B4-BE49-F238E27FC236}">
                <a16:creationId xmlns:a16="http://schemas.microsoft.com/office/drawing/2014/main" id="{EC86A18B-42E0-4F54-B91E-128062C4905F}"/>
              </a:ext>
            </a:extLst>
          </p:cNvPr>
          <p:cNvSpPr/>
          <p:nvPr/>
        </p:nvSpPr>
        <p:spPr bwMode="auto">
          <a:xfrm>
            <a:off x="3707440" y="4827368"/>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48" name="Rounded Rectangle 31">
            <a:extLst>
              <a:ext uri="{FF2B5EF4-FFF2-40B4-BE49-F238E27FC236}">
                <a16:creationId xmlns:a16="http://schemas.microsoft.com/office/drawing/2014/main" id="{72CFCA3A-6DEC-4BC5-A658-FBBDECF23617}"/>
              </a:ext>
            </a:extLst>
          </p:cNvPr>
          <p:cNvSpPr/>
          <p:nvPr/>
        </p:nvSpPr>
        <p:spPr bwMode="auto">
          <a:xfrm>
            <a:off x="5233528" y="4827368"/>
            <a:ext cx="1196241" cy="407187"/>
          </a:xfrm>
          <a:prstGeom prst="roundRect">
            <a:avLst>
              <a:gd name="adj" fmla="val 3792"/>
            </a:avLst>
          </a:prstGeom>
          <a:solidFill>
            <a:srgbClr val="FFE48F"/>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49" name="Rounded Rectangle 31">
            <a:extLst>
              <a:ext uri="{FF2B5EF4-FFF2-40B4-BE49-F238E27FC236}">
                <a16:creationId xmlns:a16="http://schemas.microsoft.com/office/drawing/2014/main" id="{E90DD80E-E38A-4625-91BD-7FDC9312A827}"/>
              </a:ext>
            </a:extLst>
          </p:cNvPr>
          <p:cNvSpPr/>
          <p:nvPr/>
        </p:nvSpPr>
        <p:spPr bwMode="auto">
          <a:xfrm>
            <a:off x="2181352" y="5377857"/>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50" name="Rounded Rectangle 31">
            <a:extLst>
              <a:ext uri="{FF2B5EF4-FFF2-40B4-BE49-F238E27FC236}">
                <a16:creationId xmlns:a16="http://schemas.microsoft.com/office/drawing/2014/main" id="{1FAFB220-21F0-4588-9224-442E3063EE2A}"/>
              </a:ext>
            </a:extLst>
          </p:cNvPr>
          <p:cNvSpPr/>
          <p:nvPr/>
        </p:nvSpPr>
        <p:spPr bwMode="auto">
          <a:xfrm>
            <a:off x="3707440" y="5377857"/>
            <a:ext cx="1196241" cy="407187"/>
          </a:xfrm>
          <a:prstGeom prst="roundRect">
            <a:avLst>
              <a:gd name="adj" fmla="val 3792"/>
            </a:avLst>
          </a:prstGeom>
          <a:solidFill>
            <a:srgbClr val="FFE48F"/>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51" name="Rounded Rectangle 31">
            <a:extLst>
              <a:ext uri="{FF2B5EF4-FFF2-40B4-BE49-F238E27FC236}">
                <a16:creationId xmlns:a16="http://schemas.microsoft.com/office/drawing/2014/main" id="{53326BF5-6112-4994-A9DD-3DB8FBAC030B}"/>
              </a:ext>
            </a:extLst>
          </p:cNvPr>
          <p:cNvSpPr/>
          <p:nvPr/>
        </p:nvSpPr>
        <p:spPr bwMode="auto">
          <a:xfrm>
            <a:off x="5233528" y="5377857"/>
            <a:ext cx="1196241" cy="407187"/>
          </a:xfrm>
          <a:prstGeom prst="roundRect">
            <a:avLst>
              <a:gd name="adj" fmla="val 3792"/>
            </a:avLst>
          </a:prstGeom>
          <a:solidFill>
            <a:srgbClr val="FFE48F"/>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52" name="Rounded Rectangle 31">
            <a:extLst>
              <a:ext uri="{FF2B5EF4-FFF2-40B4-BE49-F238E27FC236}">
                <a16:creationId xmlns:a16="http://schemas.microsoft.com/office/drawing/2014/main" id="{8D2224F5-2A34-495C-9078-71D32877DE4F}"/>
              </a:ext>
            </a:extLst>
          </p:cNvPr>
          <p:cNvSpPr/>
          <p:nvPr/>
        </p:nvSpPr>
        <p:spPr bwMode="auto">
          <a:xfrm>
            <a:off x="7154745" y="4260428"/>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53" name="Rounded Rectangle 31">
            <a:extLst>
              <a:ext uri="{FF2B5EF4-FFF2-40B4-BE49-F238E27FC236}">
                <a16:creationId xmlns:a16="http://schemas.microsoft.com/office/drawing/2014/main" id="{B75A2AEF-BD49-4E7B-8988-854976323B81}"/>
              </a:ext>
            </a:extLst>
          </p:cNvPr>
          <p:cNvSpPr/>
          <p:nvPr/>
        </p:nvSpPr>
        <p:spPr bwMode="auto">
          <a:xfrm>
            <a:off x="8680833" y="4260428"/>
            <a:ext cx="1196241" cy="407187"/>
          </a:xfrm>
          <a:prstGeom prst="roundRect">
            <a:avLst>
              <a:gd name="adj" fmla="val 3792"/>
            </a:avLst>
          </a:prstGeom>
          <a:solidFill>
            <a:srgbClr val="FFE48F"/>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54" name="Rounded Rectangle 31">
            <a:extLst>
              <a:ext uri="{FF2B5EF4-FFF2-40B4-BE49-F238E27FC236}">
                <a16:creationId xmlns:a16="http://schemas.microsoft.com/office/drawing/2014/main" id="{3577CCEB-F3AA-475A-9D67-8A938EF2F7EE}"/>
              </a:ext>
            </a:extLst>
          </p:cNvPr>
          <p:cNvSpPr/>
          <p:nvPr/>
        </p:nvSpPr>
        <p:spPr bwMode="auto">
          <a:xfrm>
            <a:off x="10206921" y="4260428"/>
            <a:ext cx="1196241" cy="407187"/>
          </a:xfrm>
          <a:prstGeom prst="roundRect">
            <a:avLst>
              <a:gd name="adj" fmla="val 3792"/>
            </a:avLst>
          </a:prstGeom>
          <a:solidFill>
            <a:srgbClr val="D3EFCE"/>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55" name="Rounded Rectangle 31">
            <a:extLst>
              <a:ext uri="{FF2B5EF4-FFF2-40B4-BE49-F238E27FC236}">
                <a16:creationId xmlns:a16="http://schemas.microsoft.com/office/drawing/2014/main" id="{A32C28A0-64C1-4752-9999-EDD317702AEB}"/>
              </a:ext>
            </a:extLst>
          </p:cNvPr>
          <p:cNvSpPr/>
          <p:nvPr/>
        </p:nvSpPr>
        <p:spPr bwMode="auto">
          <a:xfrm>
            <a:off x="7154745" y="4827368"/>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56" name="Rounded Rectangle 31">
            <a:extLst>
              <a:ext uri="{FF2B5EF4-FFF2-40B4-BE49-F238E27FC236}">
                <a16:creationId xmlns:a16="http://schemas.microsoft.com/office/drawing/2014/main" id="{2AD97465-8C80-44B2-8709-053CF992D6E3}"/>
              </a:ext>
            </a:extLst>
          </p:cNvPr>
          <p:cNvSpPr/>
          <p:nvPr/>
        </p:nvSpPr>
        <p:spPr bwMode="auto">
          <a:xfrm>
            <a:off x="8680833" y="4827368"/>
            <a:ext cx="1196241" cy="407187"/>
          </a:xfrm>
          <a:prstGeom prst="roundRect">
            <a:avLst>
              <a:gd name="adj" fmla="val 3792"/>
            </a:avLst>
          </a:prstGeom>
          <a:solidFill>
            <a:srgbClr val="FFE48F"/>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57" name="Rounded Rectangle 31">
            <a:extLst>
              <a:ext uri="{FF2B5EF4-FFF2-40B4-BE49-F238E27FC236}">
                <a16:creationId xmlns:a16="http://schemas.microsoft.com/office/drawing/2014/main" id="{87768643-96E8-4D4F-8897-7C869705224A}"/>
              </a:ext>
            </a:extLst>
          </p:cNvPr>
          <p:cNvSpPr/>
          <p:nvPr/>
        </p:nvSpPr>
        <p:spPr bwMode="auto">
          <a:xfrm>
            <a:off x="10206921" y="4827368"/>
            <a:ext cx="1196241" cy="407187"/>
          </a:xfrm>
          <a:prstGeom prst="roundRect">
            <a:avLst>
              <a:gd name="adj" fmla="val 3792"/>
            </a:avLst>
          </a:prstGeom>
          <a:solidFill>
            <a:srgbClr val="D3EFCE"/>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
        <p:nvSpPr>
          <p:cNvPr id="158" name="Rounded Rectangle 31">
            <a:extLst>
              <a:ext uri="{FF2B5EF4-FFF2-40B4-BE49-F238E27FC236}">
                <a16:creationId xmlns:a16="http://schemas.microsoft.com/office/drawing/2014/main" id="{D12D99E7-54F3-4DDA-9B48-F445C9AA0126}"/>
              </a:ext>
            </a:extLst>
          </p:cNvPr>
          <p:cNvSpPr/>
          <p:nvPr/>
        </p:nvSpPr>
        <p:spPr bwMode="auto">
          <a:xfrm>
            <a:off x="7154745" y="5377857"/>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59" name="Rounded Rectangle 31">
            <a:extLst>
              <a:ext uri="{FF2B5EF4-FFF2-40B4-BE49-F238E27FC236}">
                <a16:creationId xmlns:a16="http://schemas.microsoft.com/office/drawing/2014/main" id="{9854AE39-DA0B-4240-BF0E-47BC08F2A541}"/>
              </a:ext>
            </a:extLst>
          </p:cNvPr>
          <p:cNvSpPr/>
          <p:nvPr/>
        </p:nvSpPr>
        <p:spPr bwMode="auto">
          <a:xfrm>
            <a:off x="8680833" y="5377857"/>
            <a:ext cx="1196241" cy="407187"/>
          </a:xfrm>
          <a:prstGeom prst="roundRect">
            <a:avLst>
              <a:gd name="adj" fmla="val 3792"/>
            </a:avLst>
          </a:prstGeom>
          <a:solidFill>
            <a:schemeClr val="accent2">
              <a:lumMod val="10000"/>
              <a:lumOff val="90000"/>
            </a:schemeClr>
          </a:solidFill>
          <a:ln>
            <a:no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effectLst/>
                <a:uLnTx/>
                <a:uFillTx/>
              </a:rPr>
              <a:t>Insert Stakeholder Group name or Stakeholder name</a:t>
            </a:r>
          </a:p>
        </p:txBody>
      </p:sp>
      <p:sp>
        <p:nvSpPr>
          <p:cNvPr id="160" name="Rounded Rectangle 31">
            <a:extLst>
              <a:ext uri="{FF2B5EF4-FFF2-40B4-BE49-F238E27FC236}">
                <a16:creationId xmlns:a16="http://schemas.microsoft.com/office/drawing/2014/main" id="{2BF676F8-D343-4096-99EC-4ADA96C4F8D2}"/>
              </a:ext>
            </a:extLst>
          </p:cNvPr>
          <p:cNvSpPr/>
          <p:nvPr/>
        </p:nvSpPr>
        <p:spPr bwMode="auto">
          <a:xfrm>
            <a:off x="10206921" y="5377857"/>
            <a:ext cx="1196241" cy="407187"/>
          </a:xfrm>
          <a:prstGeom prst="roundRect">
            <a:avLst>
              <a:gd name="adj" fmla="val 3792"/>
            </a:avLst>
          </a:prstGeom>
          <a:solidFill>
            <a:srgbClr val="D3EFCE"/>
          </a:solidFill>
          <a:ln>
            <a:noFill/>
          </a:ln>
          <a:effectLst/>
        </p:spPr>
        <p:txBody>
          <a:bodyPr wrap="square" lIns="18000" tIns="45715" rIns="18000" bIns="45715" rtlCol="0" anchor="ctr">
            <a:noAutofit/>
          </a:bodyPr>
          <a:lstStyle/>
          <a:p>
            <a:pPr algn="ctr" defTabSz="623853">
              <a:buClr>
                <a:srgbClr val="000000"/>
              </a:buClr>
            </a:pPr>
            <a:r>
              <a:rPr lang="en-US" sz="800" kern="0" dirty="0"/>
              <a:t>Insert Stakeholder Group name or Stakeholder name</a:t>
            </a:r>
          </a:p>
        </p:txBody>
      </p:sp>
    </p:spTree>
    <p:extLst>
      <p:ext uri="{BB962C8B-B14F-4D97-AF65-F5344CB8AC3E}">
        <p14:creationId xmlns:p14="http://schemas.microsoft.com/office/powerpoint/2010/main" val="16750623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888576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chemeClr val="tx1"/>
                </a:solidFill>
                <a:ea typeface="+mn-ea"/>
                <a:cs typeface="+mn-cs"/>
              </a:rPr>
              <a:t>Step 3:</a:t>
            </a:r>
            <a:r>
              <a:rPr kumimoji="0" lang="en-GB" b="1" i="0" u="none" strike="noStrike" kern="1200" cap="none" spc="0" normalizeH="0" baseline="0" noProof="0" dirty="0">
                <a:ln>
                  <a:noFill/>
                </a:ln>
                <a:solidFill>
                  <a:schemeClr val="tx1"/>
                </a:solidFill>
                <a:effectLst/>
                <a:uLnTx/>
                <a:uFillTx/>
                <a:ea typeface="+mn-ea"/>
                <a:cs typeface="+mn-cs"/>
              </a:rPr>
              <a:t> </a:t>
            </a:r>
            <a:r>
              <a:rPr kumimoji="0" lang="en-GB" sz="2000" b="1" i="0" u="none" strike="noStrike" kern="1200" cap="none" spc="0" normalizeH="0" baseline="0" noProof="0" dirty="0">
                <a:ln>
                  <a:noFill/>
                </a:ln>
                <a:solidFill>
                  <a:schemeClr val="tx1"/>
                </a:solidFill>
                <a:effectLst/>
                <a:uLnTx/>
                <a:uFillTx/>
                <a:ea typeface="+mn-ea"/>
                <a:cs typeface="+mn-cs"/>
              </a:rPr>
              <a:t>Define &amp; implement a plan of actions for each stakeholder by leveraging our Detailed Stakeholder Analysis Matrix in Excel</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5C94B-8C55-478B-B509-BAE6A06B2E2A}" type="slidenum">
              <a:rPr kumimoji="0" lang="en-US" sz="1000" b="0" i="0" u="none" strike="noStrike" kern="1200" cap="none" spc="0" normalizeH="0" baseline="0" noProof="0" smtClean="0">
                <a:ln>
                  <a:noFill/>
                </a:ln>
                <a:solidFill>
                  <a:srgbClr val="ADAFB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dirty="0">
              <a:ln>
                <a:noFill/>
              </a:ln>
              <a:solidFill>
                <a:srgbClr val="ADAFBB"/>
              </a:solidFill>
              <a:effectLst/>
              <a:uLnTx/>
              <a:uFillTx/>
              <a:latin typeface="Arial" panose="020B0604020202020204" pitchFamily="34" charset="0"/>
              <a:ea typeface="+mn-ea"/>
              <a:cs typeface="Arial" panose="020B0604020202020204" pitchFamily="34" charset="0"/>
            </a:endParaRPr>
          </a:p>
        </p:txBody>
      </p:sp>
      <p:pic>
        <p:nvPicPr>
          <p:cNvPr id="4" name="Picture 3">
            <a:extLst>
              <a:ext uri="{FF2B5EF4-FFF2-40B4-BE49-F238E27FC236}">
                <a16:creationId xmlns:a16="http://schemas.microsoft.com/office/drawing/2014/main" id="{B2680DA5-5D4F-4332-A7E2-6125046E51C0}"/>
              </a:ext>
            </a:extLst>
          </p:cNvPr>
          <p:cNvPicPr>
            <a:picLocks noChangeAspect="1"/>
          </p:cNvPicPr>
          <p:nvPr/>
        </p:nvPicPr>
        <p:blipFill>
          <a:blip r:embed="rId5"/>
          <a:stretch>
            <a:fillRect/>
          </a:stretch>
        </p:blipFill>
        <p:spPr>
          <a:xfrm>
            <a:off x="1311564" y="2200096"/>
            <a:ext cx="9097818" cy="3688965"/>
          </a:xfrm>
          <a:prstGeom prst="rect">
            <a:avLst/>
          </a:prstGeom>
          <a:ln>
            <a:noFill/>
          </a:ln>
          <a:effectLst>
            <a:outerShdw blurRad="292100" dist="139700" dir="2700000" algn="tl" rotWithShape="0">
              <a:srgbClr val="333333">
                <a:alpha val="65000"/>
              </a:srgbClr>
            </a:outerShdw>
          </a:effectLst>
        </p:spPr>
      </p:pic>
      <p:sp>
        <p:nvSpPr>
          <p:cNvPr id="115" name="Rounded Rectangular Callout 15">
            <a:extLst>
              <a:ext uri="{FF2B5EF4-FFF2-40B4-BE49-F238E27FC236}">
                <a16:creationId xmlns:a16="http://schemas.microsoft.com/office/drawing/2014/main" id="{47E6D793-402B-40C3-ADA8-A8A0AFB9A327}"/>
              </a:ext>
            </a:extLst>
          </p:cNvPr>
          <p:cNvSpPr/>
          <p:nvPr/>
        </p:nvSpPr>
        <p:spPr bwMode="auto">
          <a:xfrm>
            <a:off x="4820329" y="1773248"/>
            <a:ext cx="4360866" cy="763472"/>
          </a:xfrm>
          <a:prstGeom prst="wedgeRoundRectCallout">
            <a:avLst>
              <a:gd name="adj1" fmla="val -56047"/>
              <a:gd name="adj2" fmla="val 190988"/>
              <a:gd name="adj3" fmla="val 16667"/>
            </a:avLst>
          </a:prstGeom>
          <a:solidFill>
            <a:schemeClr val="accent5">
              <a:lumMod val="20000"/>
              <a:lumOff val="80000"/>
              <a:alpha val="90000"/>
            </a:schemeClr>
          </a:solidFill>
          <a:ln>
            <a:solidFill>
              <a:schemeClr val="bg1">
                <a:lumMod val="75000"/>
              </a:schemeClr>
            </a:solidFill>
            <a:prstDash val="solid"/>
          </a:ln>
        </p:spPr>
        <p:txBody>
          <a:bodyPr wrap="square" lIns="91428" tIns="45715" rIns="91428" bIns="45715" rtlCol="0" anchor="ctr">
            <a:noAutofit/>
          </a:bodyPr>
          <a:lstStyle/>
          <a:p>
            <a:pPr defTabSz="623853" fontAlgn="base">
              <a:spcBef>
                <a:spcPts val="600"/>
              </a:spcBef>
              <a:spcAft>
                <a:spcPts val="600"/>
              </a:spcAft>
              <a:buClr>
                <a:srgbClr val="000000"/>
              </a:buClr>
            </a:pPr>
            <a:r>
              <a:rPr lang="en-US" sz="1200" b="1" dirty="0"/>
              <a:t>Access this Excel spreadsheet by opening the document “Detailed Stakeholder Matrix”</a:t>
            </a:r>
            <a:endParaRPr lang="en-US" sz="1200" b="1" dirty="0">
              <a:latin typeface="Arial" charset="0"/>
              <a:cs typeface="Times New Roman" pitchFamily="18" charset="0"/>
            </a:endParaRPr>
          </a:p>
        </p:txBody>
      </p:sp>
      <p:pic>
        <p:nvPicPr>
          <p:cNvPr id="114" name="Picture 113">
            <a:extLst>
              <a:ext uri="{FF2B5EF4-FFF2-40B4-BE49-F238E27FC236}">
                <a16:creationId xmlns:a16="http://schemas.microsoft.com/office/drawing/2014/main" id="{7A1BDBA4-D060-4EBE-B6E3-8079EB2C329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982534" y="1773248"/>
            <a:ext cx="853696" cy="853696"/>
          </a:xfrm>
          <a:prstGeom prst="rect">
            <a:avLst/>
          </a:prstGeom>
        </p:spPr>
      </p:pic>
    </p:spTree>
    <p:extLst>
      <p:ext uri="{BB962C8B-B14F-4D97-AF65-F5344CB8AC3E}">
        <p14:creationId xmlns:p14="http://schemas.microsoft.com/office/powerpoint/2010/main" val="4716586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5D314B-353E-4B75-97C2-723B22CA15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5" name="Object 4" hidden="1">
                        <a:extLst>
                          <a:ext uri="{FF2B5EF4-FFF2-40B4-BE49-F238E27FC236}">
                            <a16:creationId xmlns:a16="http://schemas.microsoft.com/office/drawing/2014/main" id="{A85D314B-353E-4B75-97C2-723B22CA15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D8F047F-9B29-4082-9156-B431E0D7580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200" dirty="0">
                <a:latin typeface="+mn-lt"/>
              </a:rPr>
              <a:t>Need more help? Our ex-McKinsey, Deloitte &amp; BCG Consultants created 11 Business &amp; Consulting Toolkits</a:t>
            </a:r>
          </a:p>
        </p:txBody>
      </p:sp>
      <p:sp>
        <p:nvSpPr>
          <p:cNvPr id="4" name="Slide Number Placeholder 3">
            <a:extLst>
              <a:ext uri="{FF2B5EF4-FFF2-40B4-BE49-F238E27FC236}">
                <a16:creationId xmlns:a16="http://schemas.microsoft.com/office/drawing/2014/main" id="{6F7AE37A-9246-4985-8F29-8D68449D9F28}"/>
              </a:ext>
            </a:extLst>
          </p:cNvPr>
          <p:cNvSpPr>
            <a:spLocks noGrp="1"/>
          </p:cNvSpPr>
          <p:nvPr>
            <p:ph type="sldNum" sz="quarter" idx="4"/>
          </p:nvPr>
        </p:nvSpPr>
        <p:spPr/>
        <p:txBody>
          <a:bodyPr/>
          <a:lstStyle/>
          <a:p>
            <a:fld id="{37F5C94B-8C55-478B-B509-BAE6A06B2E2A}" type="slidenum">
              <a:rPr lang="en-US" sz="900" smtClean="0">
                <a:solidFill>
                  <a:srgbClr val="ADAFBB"/>
                </a:solidFill>
              </a:rPr>
              <a:pPr/>
              <a:t>9</a:t>
            </a:fld>
            <a:endParaRPr lang="en-US" sz="900" dirty="0">
              <a:solidFill>
                <a:srgbClr val="ADAFBB"/>
              </a:solidFill>
            </a:endParaRPr>
          </a:p>
        </p:txBody>
      </p:sp>
      <p:sp>
        <p:nvSpPr>
          <p:cNvPr id="44" name="Rectangle 43">
            <a:extLst>
              <a:ext uri="{FF2B5EF4-FFF2-40B4-BE49-F238E27FC236}">
                <a16:creationId xmlns:a16="http://schemas.microsoft.com/office/drawing/2014/main" id="{411193A8-7FDF-4516-9582-7F8223998366}"/>
              </a:ext>
            </a:extLst>
          </p:cNvPr>
          <p:cNvSpPr>
            <a:spLocks noChangeArrowheads="1"/>
          </p:cNvSpPr>
          <p:nvPr/>
        </p:nvSpPr>
        <p:spPr bwMode="auto">
          <a:xfrm>
            <a:off x="609048" y="1598488"/>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1.Corporate &amp; Business Strategy Toolkit</a:t>
            </a:r>
          </a:p>
        </p:txBody>
      </p:sp>
      <p:sp>
        <p:nvSpPr>
          <p:cNvPr id="45" name="Rectangle 44">
            <a:extLst>
              <a:ext uri="{FF2B5EF4-FFF2-40B4-BE49-F238E27FC236}">
                <a16:creationId xmlns:a16="http://schemas.microsoft.com/office/drawing/2014/main" id="{F77BF668-13F9-4E2F-B2A0-A370A4533CBC}"/>
              </a:ext>
            </a:extLst>
          </p:cNvPr>
          <p:cNvSpPr>
            <a:spLocks noChangeArrowheads="1"/>
          </p:cNvSpPr>
          <p:nvPr/>
        </p:nvSpPr>
        <p:spPr bwMode="auto">
          <a:xfrm>
            <a:off x="2459866" y="1598488"/>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2.Management Consulting Toolkit</a:t>
            </a:r>
            <a:endParaRPr lang="en-GB" altLang="ja-JP" sz="1100" b="1" dirty="0">
              <a:solidFill>
                <a:schemeClr val="tx2"/>
              </a:solidFill>
            </a:endParaRPr>
          </a:p>
        </p:txBody>
      </p:sp>
      <p:sp>
        <p:nvSpPr>
          <p:cNvPr id="46" name="Rectangle 45">
            <a:extLst>
              <a:ext uri="{FF2B5EF4-FFF2-40B4-BE49-F238E27FC236}">
                <a16:creationId xmlns:a16="http://schemas.microsoft.com/office/drawing/2014/main" id="{8E933AF5-28A9-4624-8233-36924701A2D3}"/>
              </a:ext>
            </a:extLst>
          </p:cNvPr>
          <p:cNvSpPr>
            <a:spLocks noChangeArrowheads="1"/>
          </p:cNvSpPr>
          <p:nvPr/>
        </p:nvSpPr>
        <p:spPr bwMode="auto">
          <a:xfrm>
            <a:off x="4310684" y="1598488"/>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3.Change &amp; Project Management Toolkit</a:t>
            </a:r>
          </a:p>
        </p:txBody>
      </p:sp>
      <p:sp>
        <p:nvSpPr>
          <p:cNvPr id="47" name="Rectangle 46">
            <a:extLst>
              <a:ext uri="{FF2B5EF4-FFF2-40B4-BE49-F238E27FC236}">
                <a16:creationId xmlns:a16="http://schemas.microsoft.com/office/drawing/2014/main" id="{514BD66A-7DFE-4DC0-BD92-3FE6154D10AE}"/>
              </a:ext>
            </a:extLst>
          </p:cNvPr>
          <p:cNvSpPr>
            <a:spLocks noChangeArrowheads="1"/>
          </p:cNvSpPr>
          <p:nvPr/>
        </p:nvSpPr>
        <p:spPr bwMode="auto">
          <a:xfrm>
            <a:off x="6161502" y="1598488"/>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4.Sales, Marketing &amp; Communication Toolkit</a:t>
            </a:r>
          </a:p>
        </p:txBody>
      </p:sp>
      <p:sp>
        <p:nvSpPr>
          <p:cNvPr id="48" name="Rectangle 47">
            <a:extLst>
              <a:ext uri="{FF2B5EF4-FFF2-40B4-BE49-F238E27FC236}">
                <a16:creationId xmlns:a16="http://schemas.microsoft.com/office/drawing/2014/main" id="{A74BC356-AD5C-4CE9-BA6C-95605462BF66}"/>
              </a:ext>
            </a:extLst>
          </p:cNvPr>
          <p:cNvSpPr>
            <a:spLocks noChangeArrowheads="1"/>
          </p:cNvSpPr>
          <p:nvPr/>
        </p:nvSpPr>
        <p:spPr bwMode="auto">
          <a:xfrm>
            <a:off x="8012320" y="1598488"/>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5.Financial Planning &amp; Analysis Toolkit</a:t>
            </a:r>
          </a:p>
        </p:txBody>
      </p:sp>
      <p:sp>
        <p:nvSpPr>
          <p:cNvPr id="49" name="Rectangle 48">
            <a:extLst>
              <a:ext uri="{FF2B5EF4-FFF2-40B4-BE49-F238E27FC236}">
                <a16:creationId xmlns:a16="http://schemas.microsoft.com/office/drawing/2014/main" id="{B43642D1-F386-4B4A-9CC3-A7E2404701A0}"/>
              </a:ext>
            </a:extLst>
          </p:cNvPr>
          <p:cNvSpPr>
            <a:spLocks noChangeArrowheads="1"/>
          </p:cNvSpPr>
          <p:nvPr/>
        </p:nvSpPr>
        <p:spPr bwMode="auto">
          <a:xfrm>
            <a:off x="610878" y="4206874"/>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rgbClr val="002060"/>
                </a:solidFill>
              </a:rPr>
              <a:t>7.Operations &amp; Supply Chain Toolkit</a:t>
            </a:r>
          </a:p>
        </p:txBody>
      </p:sp>
      <p:sp>
        <p:nvSpPr>
          <p:cNvPr id="50" name="Rectangle 49">
            <a:extLst>
              <a:ext uri="{FF2B5EF4-FFF2-40B4-BE49-F238E27FC236}">
                <a16:creationId xmlns:a16="http://schemas.microsoft.com/office/drawing/2014/main" id="{90107E7F-DBC3-49BD-8C62-6977301018C8}"/>
              </a:ext>
            </a:extLst>
          </p:cNvPr>
          <p:cNvSpPr>
            <a:spLocks noChangeArrowheads="1"/>
          </p:cNvSpPr>
          <p:nvPr/>
        </p:nvSpPr>
        <p:spPr bwMode="auto">
          <a:xfrm>
            <a:off x="2459819" y="4206874"/>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8.</a:t>
            </a:r>
            <a:r>
              <a:rPr lang="en-GB" sz="1100" b="1" dirty="0">
                <a:solidFill>
                  <a:schemeClr val="tx2"/>
                </a:solidFill>
              </a:rPr>
              <a:t>Leadership &amp; Personal Development Toolkit</a:t>
            </a:r>
            <a:endParaRPr lang="en-US" sz="1100" b="1" dirty="0">
              <a:solidFill>
                <a:schemeClr val="tx2"/>
              </a:solidFill>
            </a:endParaRPr>
          </a:p>
        </p:txBody>
      </p:sp>
      <p:grpSp>
        <p:nvGrpSpPr>
          <p:cNvPr id="51" name="Group 50">
            <a:extLst>
              <a:ext uri="{FF2B5EF4-FFF2-40B4-BE49-F238E27FC236}">
                <a16:creationId xmlns:a16="http://schemas.microsoft.com/office/drawing/2014/main" id="{02FE18B2-1EE1-423B-AA56-2E1957D32FB5}"/>
              </a:ext>
            </a:extLst>
          </p:cNvPr>
          <p:cNvGrpSpPr/>
          <p:nvPr/>
        </p:nvGrpSpPr>
        <p:grpSpPr>
          <a:xfrm>
            <a:off x="1116792" y="5016302"/>
            <a:ext cx="716172" cy="757600"/>
            <a:chOff x="2751134" y="1557423"/>
            <a:chExt cx="3505191" cy="3707958"/>
          </a:xfrm>
          <a:solidFill>
            <a:schemeClr val="bg1"/>
          </a:solidFill>
        </p:grpSpPr>
        <p:sp>
          <p:nvSpPr>
            <p:cNvPr id="52" name="Shape 51">
              <a:extLst>
                <a:ext uri="{FF2B5EF4-FFF2-40B4-BE49-F238E27FC236}">
                  <a16:creationId xmlns:a16="http://schemas.microsoft.com/office/drawing/2014/main" id="{A9089008-9C7D-4F27-B5C6-2963DC2F91FD}"/>
                </a:ext>
              </a:extLst>
            </p:cNvPr>
            <p:cNvSpPr/>
            <p:nvPr/>
          </p:nvSpPr>
          <p:spPr bwMode="auto">
            <a:xfrm>
              <a:off x="4021125" y="3030181"/>
              <a:ext cx="2235200" cy="2235200"/>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sp>
          <p:nvSpPr>
            <p:cNvPr id="53" name="Shape 52">
              <a:extLst>
                <a:ext uri="{FF2B5EF4-FFF2-40B4-BE49-F238E27FC236}">
                  <a16:creationId xmlns:a16="http://schemas.microsoft.com/office/drawing/2014/main" id="{B147DE72-50B8-48DB-B186-598B890EFCE9}"/>
                </a:ext>
              </a:extLst>
            </p:cNvPr>
            <p:cNvSpPr/>
            <p:nvPr/>
          </p:nvSpPr>
          <p:spPr bwMode="auto">
            <a:xfrm>
              <a:off x="2751134" y="3151264"/>
              <a:ext cx="1320800" cy="1320800"/>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sp>
          <p:nvSpPr>
            <p:cNvPr id="54" name="Shape 53">
              <a:extLst>
                <a:ext uri="{FF2B5EF4-FFF2-40B4-BE49-F238E27FC236}">
                  <a16:creationId xmlns:a16="http://schemas.microsoft.com/office/drawing/2014/main" id="{38BF031A-0995-476E-9844-C311FC972994}"/>
                </a:ext>
              </a:extLst>
            </p:cNvPr>
            <p:cNvSpPr/>
            <p:nvPr/>
          </p:nvSpPr>
          <p:spPr bwMode="auto">
            <a:xfrm>
              <a:off x="3748086" y="1557423"/>
              <a:ext cx="1657352" cy="1657352"/>
            </a:xfrm>
            <a:prstGeom prst="gear9">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pPr>
              <a:endParaRPr lang="en-US" dirty="0"/>
            </a:p>
          </p:txBody>
        </p:sp>
      </p:grpSp>
      <p:pic>
        <p:nvPicPr>
          <p:cNvPr id="55" name="Graphic 54" descr="Bullseye">
            <a:extLst>
              <a:ext uri="{FF2B5EF4-FFF2-40B4-BE49-F238E27FC236}">
                <a16:creationId xmlns:a16="http://schemas.microsoft.com/office/drawing/2014/main" id="{A4FA445D-A84A-41ED-8E02-195CF8F8A81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91020" y="2349082"/>
            <a:ext cx="868964" cy="868963"/>
          </a:xfrm>
          <a:prstGeom prst="rect">
            <a:avLst/>
          </a:prstGeom>
        </p:spPr>
      </p:pic>
      <p:pic>
        <p:nvPicPr>
          <p:cNvPr id="56" name="Graphic 55" descr="Lightbulb and gear">
            <a:extLst>
              <a:ext uri="{FF2B5EF4-FFF2-40B4-BE49-F238E27FC236}">
                <a16:creationId xmlns:a16="http://schemas.microsoft.com/office/drawing/2014/main" id="{64ADD5FF-156B-4D9B-A8EF-89EB7E6D3FB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38566" y="2349082"/>
            <a:ext cx="868964" cy="868963"/>
          </a:xfrm>
          <a:prstGeom prst="rect">
            <a:avLst/>
          </a:prstGeom>
        </p:spPr>
      </p:pic>
      <p:pic>
        <p:nvPicPr>
          <p:cNvPr id="57" name="Graphic 56" descr="Business Growth">
            <a:extLst>
              <a:ext uri="{FF2B5EF4-FFF2-40B4-BE49-F238E27FC236}">
                <a16:creationId xmlns:a16="http://schemas.microsoft.com/office/drawing/2014/main" id="{FB803174-AE02-400E-9C93-D03E8871230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740202" y="2349082"/>
            <a:ext cx="868964" cy="868963"/>
          </a:xfrm>
          <a:prstGeom prst="rect">
            <a:avLst/>
          </a:prstGeom>
        </p:spPr>
      </p:pic>
      <p:pic>
        <p:nvPicPr>
          <p:cNvPr id="58" name="Graphic 57" descr="Lecturer">
            <a:extLst>
              <a:ext uri="{FF2B5EF4-FFF2-40B4-BE49-F238E27FC236}">
                <a16:creationId xmlns:a16="http://schemas.microsoft.com/office/drawing/2014/main" id="{D4A6C9F0-BCEF-4AFF-9704-E4BF64DB0AD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889337" y="4960621"/>
            <a:ext cx="868964" cy="868963"/>
          </a:xfrm>
          <a:prstGeom prst="rect">
            <a:avLst/>
          </a:prstGeom>
        </p:spPr>
      </p:pic>
      <p:sp>
        <p:nvSpPr>
          <p:cNvPr id="59" name="Rectangle: Rounded Corners 58">
            <a:hlinkClick r:id="rId14"/>
            <a:extLst>
              <a:ext uri="{FF2B5EF4-FFF2-40B4-BE49-F238E27FC236}">
                <a16:creationId xmlns:a16="http://schemas.microsoft.com/office/drawing/2014/main" id="{17CFC19B-CFD4-4FBA-8E77-47ED02F3E8D3}"/>
              </a:ext>
            </a:extLst>
          </p:cNvPr>
          <p:cNvSpPr/>
          <p:nvPr/>
        </p:nvSpPr>
        <p:spPr bwMode="auto">
          <a:xfrm>
            <a:off x="897048" y="3538293"/>
            <a:ext cx="11520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rtl="0" fontAlgn="base">
              <a:lnSpc>
                <a:spcPts val="1100"/>
              </a:lnSpc>
              <a:spcBef>
                <a:spcPct val="0"/>
              </a:spcBef>
              <a:spcAft>
                <a:spcPct val="0"/>
              </a:spcAft>
              <a:buClr>
                <a:srgbClr val="000000"/>
              </a:buClr>
            </a:pPr>
            <a:r>
              <a:rPr lang="en-US" sz="1100" b="1" kern="1200" dirty="0">
                <a:solidFill>
                  <a:schemeClr val="bg1"/>
                </a:solidFill>
                <a:latin typeface="Arial" charset="0"/>
                <a:ea typeface="+mn-ea"/>
                <a:cs typeface="Times New Roman" pitchFamily="18" charset="0"/>
              </a:rPr>
              <a:t>Visit Website</a:t>
            </a:r>
          </a:p>
        </p:txBody>
      </p:sp>
      <p:sp>
        <p:nvSpPr>
          <p:cNvPr id="60" name="Rectangle: Rounded Corners 59">
            <a:hlinkClick r:id="rId15"/>
            <a:extLst>
              <a:ext uri="{FF2B5EF4-FFF2-40B4-BE49-F238E27FC236}">
                <a16:creationId xmlns:a16="http://schemas.microsoft.com/office/drawing/2014/main" id="{695C4FA9-2B8E-4FB8-93E0-7A02320B5483}"/>
              </a:ext>
            </a:extLst>
          </p:cNvPr>
          <p:cNvSpPr/>
          <p:nvPr/>
        </p:nvSpPr>
        <p:spPr bwMode="auto">
          <a:xfrm>
            <a:off x="2747866" y="3538293"/>
            <a:ext cx="11520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61" name="Rectangle: Rounded Corners 60">
            <a:hlinkClick r:id="rId16"/>
            <a:extLst>
              <a:ext uri="{FF2B5EF4-FFF2-40B4-BE49-F238E27FC236}">
                <a16:creationId xmlns:a16="http://schemas.microsoft.com/office/drawing/2014/main" id="{F4E5E171-5D7F-4FAF-93CF-CB62F4A1F2E9}"/>
              </a:ext>
            </a:extLst>
          </p:cNvPr>
          <p:cNvSpPr/>
          <p:nvPr/>
        </p:nvSpPr>
        <p:spPr bwMode="auto">
          <a:xfrm>
            <a:off x="4598684" y="3538293"/>
            <a:ext cx="11520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62" name="Rectangle: Rounded Corners 61">
            <a:hlinkClick r:id="rId17"/>
            <a:extLst>
              <a:ext uri="{FF2B5EF4-FFF2-40B4-BE49-F238E27FC236}">
                <a16:creationId xmlns:a16="http://schemas.microsoft.com/office/drawing/2014/main" id="{CD05CB2E-DBDA-4A1B-94E2-D867171F59FE}"/>
              </a:ext>
            </a:extLst>
          </p:cNvPr>
          <p:cNvSpPr/>
          <p:nvPr/>
        </p:nvSpPr>
        <p:spPr bwMode="auto">
          <a:xfrm>
            <a:off x="6449502" y="3538293"/>
            <a:ext cx="11520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63" name="Rectangle: Rounded Corners 62">
            <a:hlinkClick r:id="rId18"/>
            <a:extLst>
              <a:ext uri="{FF2B5EF4-FFF2-40B4-BE49-F238E27FC236}">
                <a16:creationId xmlns:a16="http://schemas.microsoft.com/office/drawing/2014/main" id="{470F2536-F17A-4FD5-86E3-1E1195927B69}"/>
              </a:ext>
            </a:extLst>
          </p:cNvPr>
          <p:cNvSpPr/>
          <p:nvPr/>
        </p:nvSpPr>
        <p:spPr bwMode="auto">
          <a:xfrm>
            <a:off x="8300320" y="3538293"/>
            <a:ext cx="11520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64" name="Rectangle: Rounded Corners 63">
            <a:hlinkClick r:id="rId19"/>
            <a:extLst>
              <a:ext uri="{FF2B5EF4-FFF2-40B4-BE49-F238E27FC236}">
                <a16:creationId xmlns:a16="http://schemas.microsoft.com/office/drawing/2014/main" id="{3E229F8E-1ADC-441D-9585-3A2C8AD31EE1}"/>
              </a:ext>
            </a:extLst>
          </p:cNvPr>
          <p:cNvSpPr/>
          <p:nvPr/>
        </p:nvSpPr>
        <p:spPr bwMode="auto">
          <a:xfrm>
            <a:off x="865278"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sp>
        <p:nvSpPr>
          <p:cNvPr id="65" name="Rectangle: Rounded Corners 64">
            <a:hlinkClick r:id="rId20"/>
            <a:extLst>
              <a:ext uri="{FF2B5EF4-FFF2-40B4-BE49-F238E27FC236}">
                <a16:creationId xmlns:a16="http://schemas.microsoft.com/office/drawing/2014/main" id="{582A4E88-3E6E-4B57-9921-2E01D1CB84B1}"/>
              </a:ext>
            </a:extLst>
          </p:cNvPr>
          <p:cNvSpPr/>
          <p:nvPr/>
        </p:nvSpPr>
        <p:spPr bwMode="auto">
          <a:xfrm>
            <a:off x="2714219"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pic>
        <p:nvPicPr>
          <p:cNvPr id="66" name="Graphic 65" descr="Playbook">
            <a:extLst>
              <a:ext uri="{FF2B5EF4-FFF2-40B4-BE49-F238E27FC236}">
                <a16:creationId xmlns:a16="http://schemas.microsoft.com/office/drawing/2014/main" id="{9A15547F-27C7-494F-9B37-6EB3ED04DB87}"/>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866666" y="2332620"/>
            <a:ext cx="914400" cy="914400"/>
          </a:xfrm>
          <a:prstGeom prst="rect">
            <a:avLst/>
          </a:prstGeom>
        </p:spPr>
      </p:pic>
      <p:sp>
        <p:nvSpPr>
          <p:cNvPr id="67" name="Rectangle 66">
            <a:extLst>
              <a:ext uri="{FF2B5EF4-FFF2-40B4-BE49-F238E27FC236}">
                <a16:creationId xmlns:a16="http://schemas.microsoft.com/office/drawing/2014/main" id="{04C18065-77FD-459E-88D7-A7F468352973}"/>
              </a:ext>
            </a:extLst>
          </p:cNvPr>
          <p:cNvSpPr>
            <a:spLocks noChangeArrowheads="1"/>
          </p:cNvSpPr>
          <p:nvPr/>
        </p:nvSpPr>
        <p:spPr bwMode="auto">
          <a:xfrm>
            <a:off x="4308760" y="4206874"/>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9.Risk Management Toolkit</a:t>
            </a:r>
          </a:p>
        </p:txBody>
      </p:sp>
      <p:sp>
        <p:nvSpPr>
          <p:cNvPr id="68" name="Rectangle: Rounded Corners 67">
            <a:hlinkClick r:id="rId23"/>
            <a:extLst>
              <a:ext uri="{FF2B5EF4-FFF2-40B4-BE49-F238E27FC236}">
                <a16:creationId xmlns:a16="http://schemas.microsoft.com/office/drawing/2014/main" id="{5579B3EC-9EEB-4609-8D9D-F20B76F96151}"/>
              </a:ext>
            </a:extLst>
          </p:cNvPr>
          <p:cNvSpPr/>
          <p:nvPr/>
        </p:nvSpPr>
        <p:spPr bwMode="auto">
          <a:xfrm>
            <a:off x="4563160" y="6145568"/>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pic>
        <p:nvPicPr>
          <p:cNvPr id="69" name="Graphic 68" descr="Shield Tick">
            <a:extLst>
              <a:ext uri="{FF2B5EF4-FFF2-40B4-BE49-F238E27FC236}">
                <a16:creationId xmlns:a16="http://schemas.microsoft.com/office/drawing/2014/main" id="{7D2EA8E4-AEED-45E4-851F-DDA0ED3FADFB}"/>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776784" y="4946169"/>
            <a:ext cx="791953" cy="791953"/>
          </a:xfrm>
          <a:prstGeom prst="rect">
            <a:avLst/>
          </a:prstGeom>
        </p:spPr>
      </p:pic>
      <p:sp>
        <p:nvSpPr>
          <p:cNvPr id="70" name="Rectangle 69">
            <a:extLst>
              <a:ext uri="{FF2B5EF4-FFF2-40B4-BE49-F238E27FC236}">
                <a16:creationId xmlns:a16="http://schemas.microsoft.com/office/drawing/2014/main" id="{CB1C877D-16A2-4DB0-BED8-3B0FFFB64706}"/>
              </a:ext>
            </a:extLst>
          </p:cNvPr>
          <p:cNvSpPr>
            <a:spLocks noChangeArrowheads="1"/>
          </p:cNvSpPr>
          <p:nvPr/>
        </p:nvSpPr>
        <p:spPr bwMode="auto">
          <a:xfrm>
            <a:off x="6157701" y="4211928"/>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10.Mergers &amp; Acquisitions Toolkit</a:t>
            </a:r>
          </a:p>
        </p:txBody>
      </p:sp>
      <p:sp>
        <p:nvSpPr>
          <p:cNvPr id="71" name="Rectangle: Rounded Corners 70">
            <a:hlinkClick r:id="rId26"/>
            <a:extLst>
              <a:ext uri="{FF2B5EF4-FFF2-40B4-BE49-F238E27FC236}">
                <a16:creationId xmlns:a16="http://schemas.microsoft.com/office/drawing/2014/main" id="{08230361-6FC5-4337-BAC4-7E325C461DA8}"/>
              </a:ext>
            </a:extLst>
          </p:cNvPr>
          <p:cNvSpPr/>
          <p:nvPr/>
        </p:nvSpPr>
        <p:spPr bwMode="auto">
          <a:xfrm>
            <a:off x="6412101" y="615173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pic>
        <p:nvPicPr>
          <p:cNvPr id="72" name="Graphic 71" descr="Puzzle pieces">
            <a:extLst>
              <a:ext uri="{FF2B5EF4-FFF2-40B4-BE49-F238E27FC236}">
                <a16:creationId xmlns:a16="http://schemas.microsoft.com/office/drawing/2014/main" id="{3E3C36E9-A83F-4982-AF48-F596BB1975B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6564501" y="4866411"/>
            <a:ext cx="914400" cy="914400"/>
          </a:xfrm>
          <a:prstGeom prst="rect">
            <a:avLst/>
          </a:prstGeom>
        </p:spPr>
      </p:pic>
      <p:pic>
        <p:nvPicPr>
          <p:cNvPr id="73" name="Graphic 72" descr="Money">
            <a:extLst>
              <a:ext uri="{FF2B5EF4-FFF2-40B4-BE49-F238E27FC236}">
                <a16:creationId xmlns:a16="http://schemas.microsoft.com/office/drawing/2014/main" id="{E75442E2-71E9-44FC-A238-51195747C8BC}"/>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8419120" y="2273652"/>
            <a:ext cx="914400" cy="914400"/>
          </a:xfrm>
          <a:prstGeom prst="rect">
            <a:avLst/>
          </a:prstGeom>
        </p:spPr>
      </p:pic>
      <p:sp>
        <p:nvSpPr>
          <p:cNvPr id="74" name="Rectangle 73">
            <a:extLst>
              <a:ext uri="{FF2B5EF4-FFF2-40B4-BE49-F238E27FC236}">
                <a16:creationId xmlns:a16="http://schemas.microsoft.com/office/drawing/2014/main" id="{EBD37F0A-29E0-4969-B5EC-4141D2BB6320}"/>
              </a:ext>
            </a:extLst>
          </p:cNvPr>
          <p:cNvSpPr>
            <a:spLocks noChangeArrowheads="1"/>
          </p:cNvSpPr>
          <p:nvPr/>
        </p:nvSpPr>
        <p:spPr bwMode="auto">
          <a:xfrm>
            <a:off x="9863136" y="1598488"/>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6.Digital Transformation Toolkit</a:t>
            </a:r>
          </a:p>
        </p:txBody>
      </p:sp>
      <p:sp>
        <p:nvSpPr>
          <p:cNvPr id="75" name="Rectangle 74">
            <a:extLst>
              <a:ext uri="{FF2B5EF4-FFF2-40B4-BE49-F238E27FC236}">
                <a16:creationId xmlns:a16="http://schemas.microsoft.com/office/drawing/2014/main" id="{C4AA2ACA-39B4-442C-B099-063BDA1B897F}"/>
              </a:ext>
            </a:extLst>
          </p:cNvPr>
          <p:cNvSpPr>
            <a:spLocks noChangeArrowheads="1"/>
          </p:cNvSpPr>
          <p:nvPr/>
        </p:nvSpPr>
        <p:spPr bwMode="auto">
          <a:xfrm>
            <a:off x="9863136" y="4211928"/>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fontScale="92500" lnSpcReduction="10000"/>
          </a:bodyPr>
          <a:lstStyle/>
          <a:p>
            <a:pPr algn="ctr"/>
            <a:r>
              <a:rPr lang="en-US" sz="1100" b="1" dirty="0">
                <a:solidFill>
                  <a:schemeClr val="tx2"/>
                </a:solidFill>
              </a:rPr>
              <a:t>More Toolkits will be created in the coming months. </a:t>
            </a:r>
          </a:p>
          <a:p>
            <a:pPr algn="ctr"/>
            <a:endParaRPr lang="en-US" sz="1100" b="1" dirty="0">
              <a:solidFill>
                <a:schemeClr val="tx2"/>
              </a:solidFill>
            </a:endParaRPr>
          </a:p>
          <a:p>
            <a:pPr algn="ctr"/>
            <a:endParaRPr lang="en-US" sz="1100" b="1" dirty="0">
              <a:solidFill>
                <a:schemeClr val="tx2"/>
              </a:solidFill>
            </a:endParaRPr>
          </a:p>
          <a:p>
            <a:pPr algn="ctr"/>
            <a:endParaRPr lang="en-US" sz="1100" b="1" dirty="0">
              <a:solidFill>
                <a:schemeClr val="tx2"/>
              </a:solidFill>
            </a:endParaRPr>
          </a:p>
          <a:p>
            <a:pPr algn="ctr"/>
            <a:endParaRPr lang="en-US" sz="1100" b="1" dirty="0">
              <a:solidFill>
                <a:schemeClr val="tx2"/>
              </a:solidFill>
            </a:endParaRPr>
          </a:p>
          <a:p>
            <a:pPr algn="ctr"/>
            <a:endParaRPr lang="en-US" sz="1100" b="1" dirty="0">
              <a:solidFill>
                <a:schemeClr val="tx2"/>
              </a:solidFill>
            </a:endParaRPr>
          </a:p>
          <a:p>
            <a:pPr algn="ctr"/>
            <a:endParaRPr lang="en-US" sz="1100" b="1" dirty="0">
              <a:solidFill>
                <a:schemeClr val="tx2"/>
              </a:solidFill>
            </a:endParaRPr>
          </a:p>
          <a:p>
            <a:pPr algn="ctr"/>
            <a:endParaRPr lang="en-US" sz="1100" b="1" dirty="0">
              <a:solidFill>
                <a:schemeClr val="tx2"/>
              </a:solidFill>
            </a:endParaRPr>
          </a:p>
          <a:p>
            <a:pPr algn="ctr"/>
            <a:endParaRPr lang="en-US" sz="1100" b="1" dirty="0">
              <a:solidFill>
                <a:schemeClr val="tx2"/>
              </a:solidFill>
            </a:endParaRPr>
          </a:p>
          <a:p>
            <a:pPr algn="ctr"/>
            <a:r>
              <a:rPr lang="en-US" sz="1100" b="1" dirty="0">
                <a:solidFill>
                  <a:schemeClr val="tx2"/>
                </a:solidFill>
              </a:rPr>
              <a:t>If you want us to create a specific Toolkit, send us an email at sales@slidebooks.com</a:t>
            </a:r>
          </a:p>
        </p:txBody>
      </p:sp>
      <p:sp>
        <p:nvSpPr>
          <p:cNvPr id="76" name="Rectangle: Rounded Corners 75">
            <a:hlinkClick r:id="rId31"/>
            <a:extLst>
              <a:ext uri="{FF2B5EF4-FFF2-40B4-BE49-F238E27FC236}">
                <a16:creationId xmlns:a16="http://schemas.microsoft.com/office/drawing/2014/main" id="{C7E64FD9-D958-4425-99D6-C3E50B606C24}"/>
              </a:ext>
            </a:extLst>
          </p:cNvPr>
          <p:cNvSpPr/>
          <p:nvPr/>
        </p:nvSpPr>
        <p:spPr bwMode="auto">
          <a:xfrm>
            <a:off x="10151136" y="3538293"/>
            <a:ext cx="11520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pic>
        <p:nvPicPr>
          <p:cNvPr id="77" name="Graphic 76" descr="Stream">
            <a:extLst>
              <a:ext uri="{FF2B5EF4-FFF2-40B4-BE49-F238E27FC236}">
                <a16:creationId xmlns:a16="http://schemas.microsoft.com/office/drawing/2014/main" id="{8008FDF0-7F97-4342-A1DE-7763174709E6}"/>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10276123" y="2273652"/>
            <a:ext cx="902026" cy="902026"/>
          </a:xfrm>
          <a:prstGeom prst="rect">
            <a:avLst/>
          </a:prstGeom>
        </p:spPr>
      </p:pic>
      <p:sp>
        <p:nvSpPr>
          <p:cNvPr id="78" name="Rectangle 77">
            <a:extLst>
              <a:ext uri="{FF2B5EF4-FFF2-40B4-BE49-F238E27FC236}">
                <a16:creationId xmlns:a16="http://schemas.microsoft.com/office/drawing/2014/main" id="{AFA816E6-1329-4FC9-8CAA-8F49CFA1DFBC}"/>
              </a:ext>
            </a:extLst>
          </p:cNvPr>
          <p:cNvSpPr>
            <a:spLocks noChangeArrowheads="1"/>
          </p:cNvSpPr>
          <p:nvPr/>
        </p:nvSpPr>
        <p:spPr bwMode="auto">
          <a:xfrm>
            <a:off x="8010716" y="4211928"/>
            <a:ext cx="1728000" cy="2286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100" b="1" dirty="0">
                <a:solidFill>
                  <a:schemeClr val="tx2"/>
                </a:solidFill>
              </a:rPr>
              <a:t>11.Entrepreneurship Toolkit</a:t>
            </a:r>
          </a:p>
        </p:txBody>
      </p:sp>
      <p:sp>
        <p:nvSpPr>
          <p:cNvPr id="79" name="Rectangle: Rounded Corners 78">
            <a:hlinkClick r:id="rId34"/>
            <a:extLst>
              <a:ext uri="{FF2B5EF4-FFF2-40B4-BE49-F238E27FC236}">
                <a16:creationId xmlns:a16="http://schemas.microsoft.com/office/drawing/2014/main" id="{ACC84311-B402-461E-AAFC-27D36981BAB2}"/>
              </a:ext>
            </a:extLst>
          </p:cNvPr>
          <p:cNvSpPr/>
          <p:nvPr/>
        </p:nvSpPr>
        <p:spPr bwMode="auto">
          <a:xfrm>
            <a:off x="8265116" y="6151733"/>
            <a:ext cx="1219200" cy="216876"/>
          </a:xfrm>
          <a:prstGeom prst="roundRect">
            <a:avLst>
              <a:gd name="adj" fmla="val 29140"/>
            </a:avLst>
          </a:prstGeom>
          <a:solidFill>
            <a:srgbClr val="3EA9F5"/>
          </a:solidFill>
          <a:ln>
            <a:noFill/>
          </a:ln>
          <a:effectLst/>
        </p:spPr>
        <p:txBody>
          <a:bodyPr wrap="square" lIns="91428" tIns="137160" rIns="91428" bIns="91440" rtlCol="0" anchor="ctr">
            <a:noAutofit/>
          </a:bodyPr>
          <a:lstStyle/>
          <a:p>
            <a:pPr algn="ctr" defTabSz="623853" fontAlgn="base">
              <a:lnSpc>
                <a:spcPts val="1100"/>
              </a:lnSpc>
              <a:spcBef>
                <a:spcPct val="0"/>
              </a:spcBef>
              <a:spcAft>
                <a:spcPct val="0"/>
              </a:spcAft>
              <a:buClr>
                <a:srgbClr val="000000"/>
              </a:buClr>
            </a:pPr>
            <a:r>
              <a:rPr lang="en-US" sz="1100" b="1" dirty="0">
                <a:solidFill>
                  <a:schemeClr val="bg1"/>
                </a:solidFill>
                <a:latin typeface="Arial" charset="0"/>
                <a:cs typeface="Times New Roman" pitchFamily="18" charset="0"/>
              </a:rPr>
              <a:t>Visit Website</a:t>
            </a:r>
          </a:p>
        </p:txBody>
      </p:sp>
      <p:pic>
        <p:nvPicPr>
          <p:cNvPr id="80" name="Graphic 79" descr="Badge Follow">
            <a:extLst>
              <a:ext uri="{FF2B5EF4-FFF2-40B4-BE49-F238E27FC236}">
                <a16:creationId xmlns:a16="http://schemas.microsoft.com/office/drawing/2014/main" id="{39C7C8E8-3819-4704-9576-38320744029D}"/>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0418961" y="4951337"/>
            <a:ext cx="616350" cy="616350"/>
          </a:xfrm>
          <a:prstGeom prst="rect">
            <a:avLst/>
          </a:prstGeom>
        </p:spPr>
      </p:pic>
      <p:pic>
        <p:nvPicPr>
          <p:cNvPr id="81" name="Graphic 80" descr="Plant">
            <a:extLst>
              <a:ext uri="{FF2B5EF4-FFF2-40B4-BE49-F238E27FC236}">
                <a16:creationId xmlns:a16="http://schemas.microsoft.com/office/drawing/2014/main" id="{E1A1A112-7EBD-45B0-8611-7A7D55304913}"/>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8441527" y="4951009"/>
            <a:ext cx="800164" cy="800164"/>
          </a:xfrm>
          <a:prstGeom prst="rect">
            <a:avLst/>
          </a:prstGeom>
        </p:spPr>
      </p:pic>
    </p:spTree>
    <p:extLst>
      <p:ext uri="{BB962C8B-B14F-4D97-AF65-F5344CB8AC3E}">
        <p14:creationId xmlns:p14="http://schemas.microsoft.com/office/powerpoint/2010/main" val="36924999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tdRYjCxWAjH7i9_56Dpwu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1wLE9WS72SqpZufFKGkeW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b6OshOgcz1ZkcHGw0AtB7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EE8C63A-4744-4DE4-BB49-0FF0B5375C60}">
  <ds:schemaRefs>
    <ds:schemaRef ds:uri="http://schemas.microsoft.com/sharepoint/v3/contenttype/forms"/>
  </ds:schemaRefs>
</ds:datastoreItem>
</file>

<file path=customXml/itemProps2.xml><?xml version="1.0" encoding="utf-8"?>
<ds:datastoreItem xmlns:ds="http://schemas.openxmlformats.org/officeDocument/2006/customXml" ds:itemID="{950072C5-DDE0-4258-BA7A-4D4B80DFA632}">
  <ds:schemaRefs>
    <ds:schemaRef ds:uri="http://purl.org/dc/elements/1.1/"/>
    <ds:schemaRef ds:uri="http://purl.org/dc/terms/"/>
    <ds:schemaRef ds:uri="http://schemas.microsoft.com/office/2006/documentManagement/types"/>
    <ds:schemaRef ds:uri="http://purl.org/dc/dcmitype/"/>
    <ds:schemaRef ds:uri="http://schemas.microsoft.com/office/infopath/2007/PartnerControls"/>
    <ds:schemaRef ds:uri="71af3243-3dd4-4a8d-8c0d-dd76da1f02a5"/>
    <ds:schemaRef ds:uri="http://schemas.microsoft.com/office/2006/metadata/properties"/>
    <ds:schemaRef ds:uri="http://schemas.openxmlformats.org/package/2006/metadata/core-properties"/>
    <ds:schemaRef ds:uri="16c05727-aa75-4e4a-9b5f-8a80a1165891"/>
    <ds:schemaRef ds:uri="http://www.w3.org/XML/1998/namespace"/>
  </ds:schemaRefs>
</ds:datastoreItem>
</file>

<file path=customXml/itemProps3.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215</TotalTime>
  <Words>1187</Words>
  <Application>Microsoft Office PowerPoint</Application>
  <PresentationFormat>Widescreen</PresentationFormat>
  <Paragraphs>193</Paragraphs>
  <Slides>13</Slides>
  <Notes>6</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7" baseType="lpstr">
      <vt:lpstr>Arial</vt:lpstr>
      <vt:lpstr>Calibri</vt:lpstr>
      <vt:lpstr>Custom Design</vt:lpstr>
      <vt:lpstr>think-cell Slide</vt:lpstr>
      <vt:lpstr>Stakeholder Analysis Process and Matrix</vt:lpstr>
      <vt:lpstr>Why should you undertake a stakeholder analysis for your project (or job)?</vt:lpstr>
      <vt:lpstr>How to undertake a robust stakeholder analysis in 3 simple steps?</vt:lpstr>
      <vt:lpstr>Step 1: List stakeholders who can influence your project or be impacted by it</vt:lpstr>
      <vt:lpstr>Step 2: Segment your key stakeholders by leveraging our Stakeholder Analysis Matrix</vt:lpstr>
      <vt:lpstr>Step 2: Segment your key stakeholders by leveraging our Stakeholder Analysis Matrix</vt:lpstr>
      <vt:lpstr>Step 2: Segment your key stakeholders by leveraging our Stakeholder Analysis Matrix</vt:lpstr>
      <vt:lpstr>Step 3: Define &amp; implement a plan of actions for each stakeholder by leveraging our Detailed Stakeholder Analysis Matrix in Excel</vt:lpstr>
      <vt:lpstr>Need more help? Our ex-McKinsey, Deloitte &amp; BCG Consultants created 11 Business &amp; Consulting Toolkits</vt:lpstr>
      <vt:lpstr>Each Business &amp; Consulting Toolkit includes:</vt:lpstr>
      <vt:lpstr>Interested in more than 1 Toolkit? You can access to all our Toolkits for half the price with the Gold Business &amp; Consulting Package</vt:lpstr>
      <vt:lpstr>Need more help?  Hire one of our Management Consultants for $4,000 a day</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55</cp:revision>
  <dcterms:created xsi:type="dcterms:W3CDTF">2020-07-08T04:44:55Z</dcterms:created>
  <dcterms:modified xsi:type="dcterms:W3CDTF">2021-04-20T08:28:25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